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3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EEC352-9981-AF1F-C27B-F40ECC92C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407A10-608D-7C4F-EF0C-956C8B5CD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B0A1F1-3B25-9916-6A0E-D218A5DE3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work</a:t>
            </a:r>
          </a:p>
        </p:txBody>
      </p:sp>
      <p:sp>
        <p:nvSpPr>
          <p:cNvPr id="2" name="Content Placeholder 44">
            <a:extLst>
              <a:ext uri="{FF2B5EF4-FFF2-40B4-BE49-F238E27FC236}">
                <a16:creationId xmlns:a16="http://schemas.microsoft.com/office/drawing/2014/main" id="{A9545E2E-1BF5-26A6-73B6-323C6D9C9719}"/>
              </a:ext>
            </a:extLst>
          </p:cNvPr>
          <p:cNvSpPr txBox="1">
            <a:spLocks/>
          </p:cNvSpPr>
          <p:nvPr/>
        </p:nvSpPr>
        <p:spPr>
          <a:xfrm>
            <a:off x="623887" y="1734406"/>
            <a:ext cx="5562600" cy="403761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rimson Pro" pitchFamily="2" charset="0"/>
              <a:buChar char="−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200" dirty="0"/>
              <a:t>Insert Here </a:t>
            </a:r>
          </a:p>
          <a:p>
            <a:pPr algn="just"/>
            <a:r>
              <a:rPr lang="en-US" sz="2200" dirty="0"/>
              <a:t>Insert Here</a:t>
            </a:r>
          </a:p>
          <a:p>
            <a:pPr algn="just"/>
            <a:r>
              <a:rPr lang="en-US" sz="2200" dirty="0"/>
              <a:t>Insert Text Here</a:t>
            </a:r>
          </a:p>
          <a:p>
            <a:pPr algn="just"/>
            <a:r>
              <a:rPr lang="en-US" sz="2200" dirty="0"/>
              <a:t>Insert Text Here</a:t>
            </a:r>
          </a:p>
          <a:p>
            <a:pPr algn="just"/>
            <a:r>
              <a:rPr lang="en-US" sz="2200" dirty="0"/>
              <a:t>Insert Text Here</a:t>
            </a:r>
          </a:p>
          <a:p>
            <a:pPr algn="just"/>
            <a:r>
              <a:rPr lang="en-US" sz="2200" dirty="0"/>
              <a:t>Insert Text Here</a:t>
            </a:r>
          </a:p>
          <a:p>
            <a:pPr algn="just"/>
            <a:r>
              <a:rPr lang="en-US" sz="2200" dirty="0"/>
              <a:t>Insert Text Here</a:t>
            </a:r>
          </a:p>
          <a:p>
            <a:pPr algn="just"/>
            <a:r>
              <a:rPr lang="en-US" sz="2200" dirty="0"/>
              <a:t>Insert Text Here</a:t>
            </a:r>
          </a:p>
          <a:p>
            <a:pPr algn="just"/>
            <a:r>
              <a:rPr lang="en-US" sz="2200" dirty="0"/>
              <a:t>Insert Text Here</a:t>
            </a:r>
          </a:p>
          <a:p>
            <a:pPr algn="just"/>
            <a:endParaRPr lang="en-US" sz="2200" dirty="0"/>
          </a:p>
          <a:p>
            <a:pPr algn="just"/>
            <a:endParaRPr lang="en-US" sz="2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8D5E1B6-F5E7-14E1-1137-8718C2005756}"/>
              </a:ext>
            </a:extLst>
          </p:cNvPr>
          <p:cNvGrpSpPr/>
          <p:nvPr/>
        </p:nvGrpSpPr>
        <p:grpSpPr>
          <a:xfrm>
            <a:off x="6091155" y="1573183"/>
            <a:ext cx="4567238" cy="4567238"/>
            <a:chOff x="7064375" y="667203"/>
            <a:chExt cx="4567238" cy="4567238"/>
          </a:xfrm>
        </p:grpSpPr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EA3AD54C-FA60-EED5-517E-B5529EF95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9688" y="667203"/>
              <a:ext cx="2568575" cy="1311275"/>
            </a:xfrm>
            <a:custGeom>
              <a:avLst/>
              <a:gdLst>
                <a:gd name="T0" fmla="*/ 4051 w 6471"/>
                <a:gd name="T1" fmla="*/ 2690 h 3301"/>
                <a:gd name="T2" fmla="*/ 4182 w 6471"/>
                <a:gd name="T3" fmla="*/ 2642 h 3301"/>
                <a:gd name="T4" fmla="*/ 4263 w 6471"/>
                <a:gd name="T5" fmla="*/ 2631 h 3301"/>
                <a:gd name="T6" fmla="*/ 4093 w 6471"/>
                <a:gd name="T7" fmla="*/ 2441 h 3301"/>
                <a:gd name="T8" fmla="*/ 3988 w 6471"/>
                <a:gd name="T9" fmla="*/ 2297 h 3301"/>
                <a:gd name="T10" fmla="*/ 3841 w 6471"/>
                <a:gd name="T11" fmla="*/ 2062 h 3301"/>
                <a:gd name="T12" fmla="*/ 3551 w 6471"/>
                <a:gd name="T13" fmla="*/ 1549 h 3301"/>
                <a:gd name="T14" fmla="*/ 3272 w 6471"/>
                <a:gd name="T15" fmla="*/ 1023 h 3301"/>
                <a:gd name="T16" fmla="*/ 3191 w 6471"/>
                <a:gd name="T17" fmla="*/ 646 h 3301"/>
                <a:gd name="T18" fmla="*/ 3594 w 6471"/>
                <a:gd name="T19" fmla="*/ 579 h 3301"/>
                <a:gd name="T20" fmla="*/ 4001 w 6471"/>
                <a:gd name="T21" fmla="*/ 546 h 3301"/>
                <a:gd name="T22" fmla="*/ 4409 w 6471"/>
                <a:gd name="T23" fmla="*/ 543 h 3301"/>
                <a:gd name="T24" fmla="*/ 4715 w 6471"/>
                <a:gd name="T25" fmla="*/ 561 h 3301"/>
                <a:gd name="T26" fmla="*/ 5011 w 6471"/>
                <a:gd name="T27" fmla="*/ 592 h 3301"/>
                <a:gd name="T28" fmla="*/ 5401 w 6471"/>
                <a:gd name="T29" fmla="*/ 659 h 3301"/>
                <a:gd name="T30" fmla="*/ 5786 w 6471"/>
                <a:gd name="T31" fmla="*/ 751 h 3301"/>
                <a:gd name="T32" fmla="*/ 6163 w 6471"/>
                <a:gd name="T33" fmla="*/ 871 h 3301"/>
                <a:gd name="T34" fmla="*/ 6259 w 6471"/>
                <a:gd name="T35" fmla="*/ 898 h 3301"/>
                <a:gd name="T36" fmla="*/ 6277 w 6471"/>
                <a:gd name="T37" fmla="*/ 906 h 3301"/>
                <a:gd name="T38" fmla="*/ 6378 w 6471"/>
                <a:gd name="T39" fmla="*/ 367 h 3301"/>
                <a:gd name="T40" fmla="*/ 6002 w 6471"/>
                <a:gd name="T41" fmla="*/ 245 h 3301"/>
                <a:gd name="T42" fmla="*/ 5618 w 6471"/>
                <a:gd name="T43" fmla="*/ 148 h 3301"/>
                <a:gd name="T44" fmla="*/ 5132 w 6471"/>
                <a:gd name="T45" fmla="*/ 61 h 3301"/>
                <a:gd name="T46" fmla="*/ 4834 w 6471"/>
                <a:gd name="T47" fmla="*/ 29 h 3301"/>
                <a:gd name="T48" fmla="*/ 4427 w 6471"/>
                <a:gd name="T49" fmla="*/ 3 h 3301"/>
                <a:gd name="T50" fmla="*/ 4019 w 6471"/>
                <a:gd name="T51" fmla="*/ 4 h 3301"/>
                <a:gd name="T52" fmla="*/ 3612 w 6471"/>
                <a:gd name="T53" fmla="*/ 34 h 3301"/>
                <a:gd name="T54" fmla="*/ 3309 w 6471"/>
                <a:gd name="T55" fmla="*/ 74 h 3301"/>
                <a:gd name="T56" fmla="*/ 3030 w 6471"/>
                <a:gd name="T57" fmla="*/ 126 h 3301"/>
                <a:gd name="T58" fmla="*/ 2663 w 6471"/>
                <a:gd name="T59" fmla="*/ 218 h 3301"/>
                <a:gd name="T60" fmla="*/ 2303 w 6471"/>
                <a:gd name="T61" fmla="*/ 334 h 3301"/>
                <a:gd name="T62" fmla="*/ 1952 w 6471"/>
                <a:gd name="T63" fmla="*/ 474 h 3301"/>
                <a:gd name="T64" fmla="*/ 1702 w 6471"/>
                <a:gd name="T65" fmla="*/ 590 h 3301"/>
                <a:gd name="T66" fmla="*/ 1077 w 6471"/>
                <a:gd name="T67" fmla="*/ 951 h 3301"/>
                <a:gd name="T68" fmla="*/ 637 w 6471"/>
                <a:gd name="T69" fmla="*/ 1269 h 3301"/>
                <a:gd name="T70" fmla="*/ 229 w 6471"/>
                <a:gd name="T71" fmla="*/ 1607 h 3301"/>
                <a:gd name="T72" fmla="*/ 0 w 6471"/>
                <a:gd name="T73" fmla="*/ 1826 h 3301"/>
                <a:gd name="T74" fmla="*/ 387 w 6471"/>
                <a:gd name="T75" fmla="*/ 2202 h 3301"/>
                <a:gd name="T76" fmla="*/ 570 w 6471"/>
                <a:gd name="T77" fmla="*/ 2027 h 3301"/>
                <a:gd name="T78" fmla="*/ 893 w 6471"/>
                <a:gd name="T79" fmla="*/ 1755 h 3301"/>
                <a:gd name="T80" fmla="*/ 1317 w 6471"/>
                <a:gd name="T81" fmla="*/ 1439 h 3301"/>
                <a:gd name="T82" fmla="*/ 1572 w 6471"/>
                <a:gd name="T83" fmla="*/ 1275 h 3301"/>
                <a:gd name="T84" fmla="*/ 1904 w 6471"/>
                <a:gd name="T85" fmla="*/ 1093 h 3301"/>
                <a:gd name="T86" fmla="*/ 2519 w 6471"/>
                <a:gd name="T87" fmla="*/ 2076 h 3301"/>
                <a:gd name="T88" fmla="*/ 2825 w 6471"/>
                <a:gd name="T89" fmla="*/ 2540 h 3301"/>
                <a:gd name="T90" fmla="*/ 3069 w 6471"/>
                <a:gd name="T91" fmla="*/ 2887 h 3301"/>
                <a:gd name="T92" fmla="*/ 3122 w 6471"/>
                <a:gd name="T93" fmla="*/ 2953 h 3301"/>
                <a:gd name="T94" fmla="*/ 3366 w 6471"/>
                <a:gd name="T95" fmla="*/ 3217 h 3301"/>
                <a:gd name="T96" fmla="*/ 3473 w 6471"/>
                <a:gd name="T97" fmla="*/ 3242 h 3301"/>
                <a:gd name="T98" fmla="*/ 3598 w 6471"/>
                <a:gd name="T99" fmla="*/ 3036 h 3301"/>
                <a:gd name="T100" fmla="*/ 3756 w 6471"/>
                <a:gd name="T101" fmla="*/ 2879 h 3301"/>
                <a:gd name="T102" fmla="*/ 3952 w 6471"/>
                <a:gd name="T103" fmla="*/ 2744 h 3301"/>
                <a:gd name="T104" fmla="*/ 4045 w 6471"/>
                <a:gd name="T105" fmla="*/ 2692 h 3301"/>
                <a:gd name="T106" fmla="*/ 4014 w 6471"/>
                <a:gd name="T107" fmla="*/ 2710 h 3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471" h="3301">
                  <a:moveTo>
                    <a:pt x="4014" y="2710"/>
                  </a:moveTo>
                  <a:lnTo>
                    <a:pt x="4051" y="2690"/>
                  </a:lnTo>
                  <a:lnTo>
                    <a:pt x="4120" y="2660"/>
                  </a:lnTo>
                  <a:lnTo>
                    <a:pt x="4182" y="2642"/>
                  </a:lnTo>
                  <a:lnTo>
                    <a:pt x="4238" y="2633"/>
                  </a:lnTo>
                  <a:lnTo>
                    <a:pt x="4263" y="2631"/>
                  </a:lnTo>
                  <a:lnTo>
                    <a:pt x="4204" y="2569"/>
                  </a:lnTo>
                  <a:lnTo>
                    <a:pt x="4093" y="2441"/>
                  </a:lnTo>
                  <a:lnTo>
                    <a:pt x="4041" y="2373"/>
                  </a:lnTo>
                  <a:lnTo>
                    <a:pt x="3988" y="2297"/>
                  </a:lnTo>
                  <a:lnTo>
                    <a:pt x="3889" y="2141"/>
                  </a:lnTo>
                  <a:lnTo>
                    <a:pt x="3841" y="2062"/>
                  </a:lnTo>
                  <a:lnTo>
                    <a:pt x="3742" y="1892"/>
                  </a:lnTo>
                  <a:lnTo>
                    <a:pt x="3551" y="1549"/>
                  </a:lnTo>
                  <a:lnTo>
                    <a:pt x="3459" y="1377"/>
                  </a:lnTo>
                  <a:lnTo>
                    <a:pt x="3272" y="1023"/>
                  </a:lnTo>
                  <a:lnTo>
                    <a:pt x="3091" y="668"/>
                  </a:lnTo>
                  <a:lnTo>
                    <a:pt x="3191" y="646"/>
                  </a:lnTo>
                  <a:lnTo>
                    <a:pt x="3392" y="608"/>
                  </a:lnTo>
                  <a:lnTo>
                    <a:pt x="3594" y="579"/>
                  </a:lnTo>
                  <a:lnTo>
                    <a:pt x="3797" y="559"/>
                  </a:lnTo>
                  <a:lnTo>
                    <a:pt x="4001" y="546"/>
                  </a:lnTo>
                  <a:lnTo>
                    <a:pt x="4206" y="541"/>
                  </a:lnTo>
                  <a:lnTo>
                    <a:pt x="4409" y="543"/>
                  </a:lnTo>
                  <a:lnTo>
                    <a:pt x="4614" y="554"/>
                  </a:lnTo>
                  <a:lnTo>
                    <a:pt x="4715" y="561"/>
                  </a:lnTo>
                  <a:lnTo>
                    <a:pt x="4814" y="570"/>
                  </a:lnTo>
                  <a:lnTo>
                    <a:pt x="5011" y="592"/>
                  </a:lnTo>
                  <a:lnTo>
                    <a:pt x="5206" y="622"/>
                  </a:lnTo>
                  <a:lnTo>
                    <a:pt x="5401" y="659"/>
                  </a:lnTo>
                  <a:lnTo>
                    <a:pt x="5594" y="701"/>
                  </a:lnTo>
                  <a:lnTo>
                    <a:pt x="5786" y="751"/>
                  </a:lnTo>
                  <a:lnTo>
                    <a:pt x="5976" y="808"/>
                  </a:lnTo>
                  <a:lnTo>
                    <a:pt x="6163" y="871"/>
                  </a:lnTo>
                  <a:lnTo>
                    <a:pt x="6256" y="906"/>
                  </a:lnTo>
                  <a:lnTo>
                    <a:pt x="6259" y="898"/>
                  </a:lnTo>
                  <a:lnTo>
                    <a:pt x="6268" y="902"/>
                  </a:lnTo>
                  <a:lnTo>
                    <a:pt x="6277" y="906"/>
                  </a:lnTo>
                  <a:lnTo>
                    <a:pt x="6471" y="402"/>
                  </a:lnTo>
                  <a:lnTo>
                    <a:pt x="6378" y="367"/>
                  </a:lnTo>
                  <a:lnTo>
                    <a:pt x="6191" y="302"/>
                  </a:lnTo>
                  <a:lnTo>
                    <a:pt x="6002" y="245"/>
                  </a:lnTo>
                  <a:lnTo>
                    <a:pt x="5812" y="193"/>
                  </a:lnTo>
                  <a:lnTo>
                    <a:pt x="5618" y="148"/>
                  </a:lnTo>
                  <a:lnTo>
                    <a:pt x="5424" y="109"/>
                  </a:lnTo>
                  <a:lnTo>
                    <a:pt x="5132" y="61"/>
                  </a:lnTo>
                  <a:lnTo>
                    <a:pt x="4935" y="39"/>
                  </a:lnTo>
                  <a:lnTo>
                    <a:pt x="4834" y="29"/>
                  </a:lnTo>
                  <a:lnTo>
                    <a:pt x="4631" y="13"/>
                  </a:lnTo>
                  <a:lnTo>
                    <a:pt x="4427" y="3"/>
                  </a:lnTo>
                  <a:lnTo>
                    <a:pt x="4222" y="0"/>
                  </a:lnTo>
                  <a:lnTo>
                    <a:pt x="4019" y="4"/>
                  </a:lnTo>
                  <a:lnTo>
                    <a:pt x="3816" y="16"/>
                  </a:lnTo>
                  <a:lnTo>
                    <a:pt x="3612" y="34"/>
                  </a:lnTo>
                  <a:lnTo>
                    <a:pt x="3410" y="58"/>
                  </a:lnTo>
                  <a:lnTo>
                    <a:pt x="3309" y="74"/>
                  </a:lnTo>
                  <a:lnTo>
                    <a:pt x="3215" y="90"/>
                  </a:lnTo>
                  <a:lnTo>
                    <a:pt x="3030" y="126"/>
                  </a:lnTo>
                  <a:lnTo>
                    <a:pt x="2846" y="170"/>
                  </a:lnTo>
                  <a:lnTo>
                    <a:pt x="2663" y="218"/>
                  </a:lnTo>
                  <a:lnTo>
                    <a:pt x="2482" y="274"/>
                  </a:lnTo>
                  <a:lnTo>
                    <a:pt x="2303" y="334"/>
                  </a:lnTo>
                  <a:lnTo>
                    <a:pt x="2125" y="402"/>
                  </a:lnTo>
                  <a:lnTo>
                    <a:pt x="1952" y="474"/>
                  </a:lnTo>
                  <a:lnTo>
                    <a:pt x="1865" y="513"/>
                  </a:lnTo>
                  <a:lnTo>
                    <a:pt x="1702" y="590"/>
                  </a:lnTo>
                  <a:lnTo>
                    <a:pt x="1383" y="761"/>
                  </a:lnTo>
                  <a:lnTo>
                    <a:pt x="1077" y="951"/>
                  </a:lnTo>
                  <a:lnTo>
                    <a:pt x="781" y="1159"/>
                  </a:lnTo>
                  <a:lnTo>
                    <a:pt x="637" y="1269"/>
                  </a:lnTo>
                  <a:lnTo>
                    <a:pt x="471" y="1400"/>
                  </a:lnTo>
                  <a:lnTo>
                    <a:pt x="229" y="1607"/>
                  </a:lnTo>
                  <a:lnTo>
                    <a:pt x="75" y="1751"/>
                  </a:lnTo>
                  <a:lnTo>
                    <a:pt x="0" y="1826"/>
                  </a:lnTo>
                  <a:lnTo>
                    <a:pt x="377" y="2192"/>
                  </a:lnTo>
                  <a:lnTo>
                    <a:pt x="387" y="2202"/>
                  </a:lnTo>
                  <a:lnTo>
                    <a:pt x="447" y="2143"/>
                  </a:lnTo>
                  <a:lnTo>
                    <a:pt x="570" y="2027"/>
                  </a:lnTo>
                  <a:lnTo>
                    <a:pt x="762" y="1861"/>
                  </a:lnTo>
                  <a:lnTo>
                    <a:pt x="893" y="1755"/>
                  </a:lnTo>
                  <a:lnTo>
                    <a:pt x="1031" y="1646"/>
                  </a:lnTo>
                  <a:lnTo>
                    <a:pt x="1317" y="1439"/>
                  </a:lnTo>
                  <a:lnTo>
                    <a:pt x="1464" y="1343"/>
                  </a:lnTo>
                  <a:lnTo>
                    <a:pt x="1572" y="1275"/>
                  </a:lnTo>
                  <a:lnTo>
                    <a:pt x="1792" y="1151"/>
                  </a:lnTo>
                  <a:lnTo>
                    <a:pt x="1904" y="1093"/>
                  </a:lnTo>
                  <a:lnTo>
                    <a:pt x="2107" y="1422"/>
                  </a:lnTo>
                  <a:lnTo>
                    <a:pt x="2519" y="2076"/>
                  </a:lnTo>
                  <a:lnTo>
                    <a:pt x="2732" y="2399"/>
                  </a:lnTo>
                  <a:lnTo>
                    <a:pt x="2825" y="2540"/>
                  </a:lnTo>
                  <a:lnTo>
                    <a:pt x="2969" y="2750"/>
                  </a:lnTo>
                  <a:lnTo>
                    <a:pt x="3069" y="2887"/>
                  </a:lnTo>
                  <a:lnTo>
                    <a:pt x="3122" y="2953"/>
                  </a:lnTo>
                  <a:lnTo>
                    <a:pt x="3122" y="2953"/>
                  </a:lnTo>
                  <a:lnTo>
                    <a:pt x="3199" y="3045"/>
                  </a:lnTo>
                  <a:lnTo>
                    <a:pt x="3366" y="3217"/>
                  </a:lnTo>
                  <a:lnTo>
                    <a:pt x="3451" y="3301"/>
                  </a:lnTo>
                  <a:lnTo>
                    <a:pt x="3473" y="3242"/>
                  </a:lnTo>
                  <a:lnTo>
                    <a:pt x="3529" y="3132"/>
                  </a:lnTo>
                  <a:lnTo>
                    <a:pt x="3598" y="3036"/>
                  </a:lnTo>
                  <a:lnTo>
                    <a:pt x="3674" y="2951"/>
                  </a:lnTo>
                  <a:lnTo>
                    <a:pt x="3756" y="2879"/>
                  </a:lnTo>
                  <a:lnTo>
                    <a:pt x="3836" y="2818"/>
                  </a:lnTo>
                  <a:lnTo>
                    <a:pt x="3952" y="2744"/>
                  </a:lnTo>
                  <a:lnTo>
                    <a:pt x="4014" y="2710"/>
                  </a:lnTo>
                  <a:lnTo>
                    <a:pt x="4045" y="2692"/>
                  </a:lnTo>
                  <a:lnTo>
                    <a:pt x="3950" y="2745"/>
                  </a:lnTo>
                  <a:lnTo>
                    <a:pt x="4014" y="271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B50FD29F-8F30-A15E-CFEF-DD7C0CA11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66275" y="2256291"/>
              <a:ext cx="1074738" cy="1042988"/>
            </a:xfrm>
            <a:custGeom>
              <a:avLst/>
              <a:gdLst>
                <a:gd name="T0" fmla="*/ 398 w 2708"/>
                <a:gd name="T1" fmla="*/ 366 h 2629"/>
                <a:gd name="T2" fmla="*/ 0 w 2708"/>
                <a:gd name="T3" fmla="*/ 541 h 2629"/>
                <a:gd name="T4" fmla="*/ 557 w 2708"/>
                <a:gd name="T5" fmla="*/ 1033 h 2629"/>
                <a:gd name="T6" fmla="*/ 507 w 2708"/>
                <a:gd name="T7" fmla="*/ 1180 h 2629"/>
                <a:gd name="T8" fmla="*/ 494 w 2708"/>
                <a:gd name="T9" fmla="*/ 1389 h 2629"/>
                <a:gd name="T10" fmla="*/ 542 w 2708"/>
                <a:gd name="T11" fmla="*/ 1594 h 2629"/>
                <a:gd name="T12" fmla="*/ 656 w 2708"/>
                <a:gd name="T13" fmla="*/ 1775 h 2629"/>
                <a:gd name="T14" fmla="*/ 806 w 2708"/>
                <a:gd name="T15" fmla="*/ 1916 h 2629"/>
                <a:gd name="T16" fmla="*/ 1202 w 2708"/>
                <a:gd name="T17" fmla="*/ 2282 h 2629"/>
                <a:gd name="T18" fmla="*/ 1521 w 2708"/>
                <a:gd name="T19" fmla="*/ 2578 h 2629"/>
                <a:gd name="T20" fmla="*/ 1614 w 2708"/>
                <a:gd name="T21" fmla="*/ 2622 h 2629"/>
                <a:gd name="T22" fmla="*/ 1780 w 2708"/>
                <a:gd name="T23" fmla="*/ 2616 h 2629"/>
                <a:gd name="T24" fmla="*/ 1847 w 2708"/>
                <a:gd name="T25" fmla="*/ 2587 h 2629"/>
                <a:gd name="T26" fmla="*/ 1898 w 2708"/>
                <a:gd name="T27" fmla="*/ 2524 h 2629"/>
                <a:gd name="T28" fmla="*/ 1909 w 2708"/>
                <a:gd name="T29" fmla="*/ 2444 h 2629"/>
                <a:gd name="T30" fmla="*/ 1911 w 2708"/>
                <a:gd name="T31" fmla="*/ 2357 h 2629"/>
                <a:gd name="T32" fmla="*/ 1937 w 2708"/>
                <a:gd name="T33" fmla="*/ 2320 h 2629"/>
                <a:gd name="T34" fmla="*/ 2007 w 2708"/>
                <a:gd name="T35" fmla="*/ 2299 h 2629"/>
                <a:gd name="T36" fmla="*/ 2100 w 2708"/>
                <a:gd name="T37" fmla="*/ 2265 h 2629"/>
                <a:gd name="T38" fmla="*/ 2169 w 2708"/>
                <a:gd name="T39" fmla="*/ 2200 h 2629"/>
                <a:gd name="T40" fmla="*/ 2183 w 2708"/>
                <a:gd name="T41" fmla="*/ 2149 h 2629"/>
                <a:gd name="T42" fmla="*/ 2184 w 2708"/>
                <a:gd name="T43" fmla="*/ 2044 h 2629"/>
                <a:gd name="T44" fmla="*/ 2200 w 2708"/>
                <a:gd name="T45" fmla="*/ 1996 h 2629"/>
                <a:gd name="T46" fmla="*/ 2246 w 2708"/>
                <a:gd name="T47" fmla="*/ 1962 h 2629"/>
                <a:gd name="T48" fmla="*/ 2357 w 2708"/>
                <a:gd name="T49" fmla="*/ 1937 h 2629"/>
                <a:gd name="T50" fmla="*/ 2401 w 2708"/>
                <a:gd name="T51" fmla="*/ 1918 h 2629"/>
                <a:gd name="T52" fmla="*/ 2446 w 2708"/>
                <a:gd name="T53" fmla="*/ 1874 h 2629"/>
                <a:gd name="T54" fmla="*/ 2463 w 2708"/>
                <a:gd name="T55" fmla="*/ 1828 h 2629"/>
                <a:gd name="T56" fmla="*/ 2471 w 2708"/>
                <a:gd name="T57" fmla="*/ 1700 h 2629"/>
                <a:gd name="T58" fmla="*/ 2476 w 2708"/>
                <a:gd name="T59" fmla="*/ 1644 h 2629"/>
                <a:gd name="T60" fmla="*/ 2496 w 2708"/>
                <a:gd name="T61" fmla="*/ 1618 h 2629"/>
                <a:gd name="T62" fmla="*/ 2568 w 2708"/>
                <a:gd name="T63" fmla="*/ 1598 h 2629"/>
                <a:gd name="T64" fmla="*/ 2609 w 2708"/>
                <a:gd name="T65" fmla="*/ 1582 h 2629"/>
                <a:gd name="T66" fmla="*/ 2666 w 2708"/>
                <a:gd name="T67" fmla="*/ 1535 h 2629"/>
                <a:gd name="T68" fmla="*/ 2704 w 2708"/>
                <a:gd name="T69" fmla="*/ 1456 h 2629"/>
                <a:gd name="T70" fmla="*/ 2701 w 2708"/>
                <a:gd name="T71" fmla="*/ 1346 h 2629"/>
                <a:gd name="T72" fmla="*/ 2659 w 2708"/>
                <a:gd name="T73" fmla="*/ 1244 h 2629"/>
                <a:gd name="T74" fmla="*/ 2616 w 2708"/>
                <a:gd name="T75" fmla="*/ 1192 h 2629"/>
                <a:gd name="T76" fmla="*/ 2437 w 2708"/>
                <a:gd name="T77" fmla="*/ 1008 h 2629"/>
                <a:gd name="T78" fmla="*/ 2480 w 2708"/>
                <a:gd name="T79" fmla="*/ 976 h 2629"/>
                <a:gd name="T80" fmla="*/ 2495 w 2708"/>
                <a:gd name="T81" fmla="*/ 907 h 2629"/>
                <a:gd name="T82" fmla="*/ 2474 w 2708"/>
                <a:gd name="T83" fmla="*/ 823 h 2629"/>
                <a:gd name="T84" fmla="*/ 2424 w 2708"/>
                <a:gd name="T85" fmla="*/ 728 h 2629"/>
                <a:gd name="T86" fmla="*/ 2310 w 2708"/>
                <a:gd name="T87" fmla="*/ 591 h 2629"/>
                <a:gd name="T88" fmla="*/ 2139 w 2708"/>
                <a:gd name="T89" fmla="*/ 440 h 2629"/>
                <a:gd name="T90" fmla="*/ 1872 w 2708"/>
                <a:gd name="T91" fmla="*/ 300 h 2629"/>
                <a:gd name="T92" fmla="*/ 1758 w 2708"/>
                <a:gd name="T93" fmla="*/ 268 h 2629"/>
                <a:gd name="T94" fmla="*/ 1633 w 2708"/>
                <a:gd name="T95" fmla="*/ 250 h 2629"/>
                <a:gd name="T96" fmla="*/ 1638 w 2708"/>
                <a:gd name="T97" fmla="*/ 242 h 2629"/>
                <a:gd name="T98" fmla="*/ 1505 w 2708"/>
                <a:gd name="T99" fmla="*/ 247 h 2629"/>
                <a:gd name="T100" fmla="*/ 1323 w 2708"/>
                <a:gd name="T101" fmla="*/ 286 h 2629"/>
                <a:gd name="T102" fmla="*/ 1266 w 2708"/>
                <a:gd name="T103" fmla="*/ 294 h 2629"/>
                <a:gd name="T104" fmla="*/ 1212 w 2708"/>
                <a:gd name="T105" fmla="*/ 247 h 2629"/>
                <a:gd name="T106" fmla="*/ 928 w 2708"/>
                <a:gd name="T107" fmla="*/ 0 h 2629"/>
                <a:gd name="T108" fmla="*/ 892 w 2708"/>
                <a:gd name="T109" fmla="*/ 92 h 2629"/>
                <a:gd name="T110" fmla="*/ 804 w 2708"/>
                <a:gd name="T111" fmla="*/ 185 h 2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08" h="2629">
                  <a:moveTo>
                    <a:pt x="777" y="199"/>
                  </a:moveTo>
                  <a:lnTo>
                    <a:pt x="398" y="366"/>
                  </a:lnTo>
                  <a:lnTo>
                    <a:pt x="163" y="470"/>
                  </a:lnTo>
                  <a:lnTo>
                    <a:pt x="0" y="541"/>
                  </a:lnTo>
                  <a:lnTo>
                    <a:pt x="278" y="788"/>
                  </a:lnTo>
                  <a:lnTo>
                    <a:pt x="557" y="1033"/>
                  </a:lnTo>
                  <a:lnTo>
                    <a:pt x="537" y="1080"/>
                  </a:lnTo>
                  <a:lnTo>
                    <a:pt x="507" y="1180"/>
                  </a:lnTo>
                  <a:lnTo>
                    <a:pt x="493" y="1284"/>
                  </a:lnTo>
                  <a:lnTo>
                    <a:pt x="494" y="1389"/>
                  </a:lnTo>
                  <a:lnTo>
                    <a:pt x="510" y="1493"/>
                  </a:lnTo>
                  <a:lnTo>
                    <a:pt x="542" y="1594"/>
                  </a:lnTo>
                  <a:lnTo>
                    <a:pt x="591" y="1688"/>
                  </a:lnTo>
                  <a:lnTo>
                    <a:pt x="656" y="1775"/>
                  </a:lnTo>
                  <a:lnTo>
                    <a:pt x="695" y="1813"/>
                  </a:lnTo>
                  <a:lnTo>
                    <a:pt x="806" y="1916"/>
                  </a:lnTo>
                  <a:lnTo>
                    <a:pt x="1014" y="2108"/>
                  </a:lnTo>
                  <a:lnTo>
                    <a:pt x="1202" y="2282"/>
                  </a:lnTo>
                  <a:lnTo>
                    <a:pt x="1505" y="2563"/>
                  </a:lnTo>
                  <a:lnTo>
                    <a:pt x="1521" y="2578"/>
                  </a:lnTo>
                  <a:lnTo>
                    <a:pt x="1556" y="2598"/>
                  </a:lnTo>
                  <a:lnTo>
                    <a:pt x="1614" y="2622"/>
                  </a:lnTo>
                  <a:lnTo>
                    <a:pt x="1697" y="2629"/>
                  </a:lnTo>
                  <a:lnTo>
                    <a:pt x="1780" y="2616"/>
                  </a:lnTo>
                  <a:lnTo>
                    <a:pt x="1816" y="2602"/>
                  </a:lnTo>
                  <a:lnTo>
                    <a:pt x="1847" y="2587"/>
                  </a:lnTo>
                  <a:lnTo>
                    <a:pt x="1882" y="2553"/>
                  </a:lnTo>
                  <a:lnTo>
                    <a:pt x="1898" y="2524"/>
                  </a:lnTo>
                  <a:lnTo>
                    <a:pt x="1902" y="2508"/>
                  </a:lnTo>
                  <a:lnTo>
                    <a:pt x="1909" y="2444"/>
                  </a:lnTo>
                  <a:lnTo>
                    <a:pt x="1909" y="2381"/>
                  </a:lnTo>
                  <a:lnTo>
                    <a:pt x="1911" y="2357"/>
                  </a:lnTo>
                  <a:lnTo>
                    <a:pt x="1921" y="2333"/>
                  </a:lnTo>
                  <a:lnTo>
                    <a:pt x="1937" y="2320"/>
                  </a:lnTo>
                  <a:lnTo>
                    <a:pt x="1948" y="2316"/>
                  </a:lnTo>
                  <a:lnTo>
                    <a:pt x="2007" y="2299"/>
                  </a:lnTo>
                  <a:lnTo>
                    <a:pt x="2066" y="2281"/>
                  </a:lnTo>
                  <a:lnTo>
                    <a:pt x="2100" y="2265"/>
                  </a:lnTo>
                  <a:lnTo>
                    <a:pt x="2145" y="2230"/>
                  </a:lnTo>
                  <a:lnTo>
                    <a:pt x="2169" y="2200"/>
                  </a:lnTo>
                  <a:lnTo>
                    <a:pt x="2175" y="2183"/>
                  </a:lnTo>
                  <a:lnTo>
                    <a:pt x="2183" y="2149"/>
                  </a:lnTo>
                  <a:lnTo>
                    <a:pt x="2183" y="2079"/>
                  </a:lnTo>
                  <a:lnTo>
                    <a:pt x="2184" y="2044"/>
                  </a:lnTo>
                  <a:lnTo>
                    <a:pt x="2187" y="2024"/>
                  </a:lnTo>
                  <a:lnTo>
                    <a:pt x="2200" y="1996"/>
                  </a:lnTo>
                  <a:lnTo>
                    <a:pt x="2220" y="1975"/>
                  </a:lnTo>
                  <a:lnTo>
                    <a:pt x="2246" y="1962"/>
                  </a:lnTo>
                  <a:lnTo>
                    <a:pt x="2292" y="1950"/>
                  </a:lnTo>
                  <a:lnTo>
                    <a:pt x="2357" y="1937"/>
                  </a:lnTo>
                  <a:lnTo>
                    <a:pt x="2385" y="1926"/>
                  </a:lnTo>
                  <a:lnTo>
                    <a:pt x="2401" y="1918"/>
                  </a:lnTo>
                  <a:lnTo>
                    <a:pt x="2427" y="1898"/>
                  </a:lnTo>
                  <a:lnTo>
                    <a:pt x="2446" y="1874"/>
                  </a:lnTo>
                  <a:lnTo>
                    <a:pt x="2459" y="1845"/>
                  </a:lnTo>
                  <a:lnTo>
                    <a:pt x="2463" y="1828"/>
                  </a:lnTo>
                  <a:lnTo>
                    <a:pt x="2471" y="1765"/>
                  </a:lnTo>
                  <a:lnTo>
                    <a:pt x="2471" y="1700"/>
                  </a:lnTo>
                  <a:lnTo>
                    <a:pt x="2471" y="1678"/>
                  </a:lnTo>
                  <a:lnTo>
                    <a:pt x="2476" y="1644"/>
                  </a:lnTo>
                  <a:lnTo>
                    <a:pt x="2487" y="1625"/>
                  </a:lnTo>
                  <a:lnTo>
                    <a:pt x="2496" y="1618"/>
                  </a:lnTo>
                  <a:lnTo>
                    <a:pt x="2519" y="1607"/>
                  </a:lnTo>
                  <a:lnTo>
                    <a:pt x="2568" y="1598"/>
                  </a:lnTo>
                  <a:lnTo>
                    <a:pt x="2591" y="1590"/>
                  </a:lnTo>
                  <a:lnTo>
                    <a:pt x="2609" y="1582"/>
                  </a:lnTo>
                  <a:lnTo>
                    <a:pt x="2640" y="1560"/>
                  </a:lnTo>
                  <a:lnTo>
                    <a:pt x="2666" y="1535"/>
                  </a:lnTo>
                  <a:lnTo>
                    <a:pt x="2686" y="1506"/>
                  </a:lnTo>
                  <a:lnTo>
                    <a:pt x="2704" y="1456"/>
                  </a:lnTo>
                  <a:lnTo>
                    <a:pt x="2708" y="1384"/>
                  </a:lnTo>
                  <a:lnTo>
                    <a:pt x="2701" y="1346"/>
                  </a:lnTo>
                  <a:lnTo>
                    <a:pt x="2690" y="1303"/>
                  </a:lnTo>
                  <a:lnTo>
                    <a:pt x="2659" y="1244"/>
                  </a:lnTo>
                  <a:lnTo>
                    <a:pt x="2631" y="1208"/>
                  </a:lnTo>
                  <a:lnTo>
                    <a:pt x="2616" y="1192"/>
                  </a:lnTo>
                  <a:lnTo>
                    <a:pt x="2420" y="1011"/>
                  </a:lnTo>
                  <a:lnTo>
                    <a:pt x="2437" y="1008"/>
                  </a:lnTo>
                  <a:lnTo>
                    <a:pt x="2463" y="995"/>
                  </a:lnTo>
                  <a:lnTo>
                    <a:pt x="2480" y="976"/>
                  </a:lnTo>
                  <a:lnTo>
                    <a:pt x="2490" y="951"/>
                  </a:lnTo>
                  <a:lnTo>
                    <a:pt x="2495" y="907"/>
                  </a:lnTo>
                  <a:lnTo>
                    <a:pt x="2484" y="847"/>
                  </a:lnTo>
                  <a:lnTo>
                    <a:pt x="2474" y="823"/>
                  </a:lnTo>
                  <a:lnTo>
                    <a:pt x="2460" y="790"/>
                  </a:lnTo>
                  <a:lnTo>
                    <a:pt x="2424" y="728"/>
                  </a:lnTo>
                  <a:lnTo>
                    <a:pt x="2358" y="642"/>
                  </a:lnTo>
                  <a:lnTo>
                    <a:pt x="2310" y="591"/>
                  </a:lnTo>
                  <a:lnTo>
                    <a:pt x="2257" y="536"/>
                  </a:lnTo>
                  <a:lnTo>
                    <a:pt x="2139" y="440"/>
                  </a:lnTo>
                  <a:lnTo>
                    <a:pt x="2010" y="361"/>
                  </a:lnTo>
                  <a:lnTo>
                    <a:pt x="1872" y="300"/>
                  </a:lnTo>
                  <a:lnTo>
                    <a:pt x="1798" y="278"/>
                  </a:lnTo>
                  <a:lnTo>
                    <a:pt x="1758" y="268"/>
                  </a:lnTo>
                  <a:lnTo>
                    <a:pt x="1675" y="254"/>
                  </a:lnTo>
                  <a:lnTo>
                    <a:pt x="1633" y="250"/>
                  </a:lnTo>
                  <a:lnTo>
                    <a:pt x="1636" y="246"/>
                  </a:lnTo>
                  <a:lnTo>
                    <a:pt x="1638" y="242"/>
                  </a:lnTo>
                  <a:lnTo>
                    <a:pt x="1594" y="241"/>
                  </a:lnTo>
                  <a:lnTo>
                    <a:pt x="1505" y="247"/>
                  </a:lnTo>
                  <a:lnTo>
                    <a:pt x="1414" y="261"/>
                  </a:lnTo>
                  <a:lnTo>
                    <a:pt x="1323" y="286"/>
                  </a:lnTo>
                  <a:lnTo>
                    <a:pt x="1278" y="304"/>
                  </a:lnTo>
                  <a:lnTo>
                    <a:pt x="1266" y="294"/>
                  </a:lnTo>
                  <a:lnTo>
                    <a:pt x="1212" y="247"/>
                  </a:lnTo>
                  <a:lnTo>
                    <a:pt x="1212" y="247"/>
                  </a:lnTo>
                  <a:lnTo>
                    <a:pt x="1102" y="151"/>
                  </a:lnTo>
                  <a:lnTo>
                    <a:pt x="928" y="0"/>
                  </a:lnTo>
                  <a:lnTo>
                    <a:pt x="919" y="32"/>
                  </a:lnTo>
                  <a:lnTo>
                    <a:pt x="892" y="92"/>
                  </a:lnTo>
                  <a:lnTo>
                    <a:pt x="853" y="145"/>
                  </a:lnTo>
                  <a:lnTo>
                    <a:pt x="804" y="185"/>
                  </a:lnTo>
                  <a:lnTo>
                    <a:pt x="777" y="19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5664497-C893-794E-11D3-7DF8DD863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4375" y="1562553"/>
              <a:ext cx="1243013" cy="2536825"/>
            </a:xfrm>
            <a:custGeom>
              <a:avLst/>
              <a:gdLst>
                <a:gd name="T0" fmla="*/ 2838 w 3136"/>
                <a:gd name="T1" fmla="*/ 2432 h 6388"/>
                <a:gd name="T2" fmla="*/ 2836 w 3136"/>
                <a:gd name="T3" fmla="*/ 2269 h 6388"/>
                <a:gd name="T4" fmla="*/ 2855 w 3136"/>
                <a:gd name="T5" fmla="*/ 2185 h 6388"/>
                <a:gd name="T6" fmla="*/ 2497 w 3136"/>
                <a:gd name="T7" fmla="*/ 2315 h 6388"/>
                <a:gd name="T8" fmla="*/ 2275 w 3136"/>
                <a:gd name="T9" fmla="*/ 2372 h 6388"/>
                <a:gd name="T10" fmla="*/ 1831 w 3136"/>
                <a:gd name="T11" fmla="*/ 2436 h 6388"/>
                <a:gd name="T12" fmla="*/ 1418 w 3136"/>
                <a:gd name="T13" fmla="*/ 2479 h 6388"/>
                <a:gd name="T14" fmla="*/ 629 w 3136"/>
                <a:gd name="T15" fmla="*/ 2539 h 6388"/>
                <a:gd name="T16" fmla="*/ 689 w 3136"/>
                <a:gd name="T17" fmla="*/ 2259 h 6388"/>
                <a:gd name="T18" fmla="*/ 792 w 3136"/>
                <a:gd name="T19" fmla="*/ 1891 h 6388"/>
                <a:gd name="T20" fmla="*/ 923 w 3136"/>
                <a:gd name="T21" fmla="*/ 1532 h 6388"/>
                <a:gd name="T22" fmla="*/ 1080 w 3136"/>
                <a:gd name="T23" fmla="*/ 1183 h 6388"/>
                <a:gd name="T24" fmla="*/ 1177 w 3136"/>
                <a:gd name="T25" fmla="*/ 998 h 6388"/>
                <a:gd name="T26" fmla="*/ 1413 w 3136"/>
                <a:gd name="T27" fmla="*/ 606 h 6388"/>
                <a:gd name="T28" fmla="*/ 1613 w 3136"/>
                <a:gd name="T29" fmla="*/ 328 h 6388"/>
                <a:gd name="T30" fmla="*/ 1072 w 3136"/>
                <a:gd name="T31" fmla="*/ 149 h 6388"/>
                <a:gd name="T32" fmla="*/ 678 w 3136"/>
                <a:gd name="T33" fmla="*/ 782 h 6388"/>
                <a:gd name="T34" fmla="*/ 476 w 3136"/>
                <a:gd name="T35" fmla="*/ 1204 h 6388"/>
                <a:gd name="T36" fmla="*/ 402 w 3136"/>
                <a:gd name="T37" fmla="*/ 1380 h 6388"/>
                <a:gd name="T38" fmla="*/ 270 w 3136"/>
                <a:gd name="T39" fmla="*/ 1749 h 6388"/>
                <a:gd name="T40" fmla="*/ 164 w 3136"/>
                <a:gd name="T41" fmla="*/ 2128 h 6388"/>
                <a:gd name="T42" fmla="*/ 83 w 3136"/>
                <a:gd name="T43" fmla="*/ 2513 h 6388"/>
                <a:gd name="T44" fmla="*/ 41 w 3136"/>
                <a:gd name="T45" fmla="*/ 2803 h 6388"/>
                <a:gd name="T46" fmla="*/ 12 w 3136"/>
                <a:gd name="T47" fmla="*/ 3117 h 6388"/>
                <a:gd name="T48" fmla="*/ 0 w 3136"/>
                <a:gd name="T49" fmla="*/ 3534 h 6388"/>
                <a:gd name="T50" fmla="*/ 19 w 3136"/>
                <a:gd name="T51" fmla="*/ 3953 h 6388"/>
                <a:gd name="T52" fmla="*/ 68 w 3136"/>
                <a:gd name="T53" fmla="*/ 4368 h 6388"/>
                <a:gd name="T54" fmla="*/ 102 w 3136"/>
                <a:gd name="T55" fmla="*/ 4567 h 6388"/>
                <a:gd name="T56" fmla="*/ 187 w 3136"/>
                <a:gd name="T57" fmla="*/ 4947 h 6388"/>
                <a:gd name="T58" fmla="*/ 297 w 3136"/>
                <a:gd name="T59" fmla="*/ 5320 h 6388"/>
                <a:gd name="T60" fmla="*/ 433 w 3136"/>
                <a:gd name="T61" fmla="*/ 5686 h 6388"/>
                <a:gd name="T62" fmla="*/ 551 w 3136"/>
                <a:gd name="T63" fmla="*/ 5953 h 6388"/>
                <a:gd name="T64" fmla="*/ 719 w 3136"/>
                <a:gd name="T65" fmla="*/ 6281 h 6388"/>
                <a:gd name="T66" fmla="*/ 1246 w 3136"/>
                <a:gd name="T67" fmla="*/ 6116 h 6388"/>
                <a:gd name="T68" fmla="*/ 1107 w 3136"/>
                <a:gd name="T69" fmla="*/ 5862 h 6388"/>
                <a:gd name="T70" fmla="*/ 945 w 3136"/>
                <a:gd name="T71" fmla="*/ 5511 h 6388"/>
                <a:gd name="T72" fmla="*/ 809 w 3136"/>
                <a:gd name="T73" fmla="*/ 5149 h 6388"/>
                <a:gd name="T74" fmla="*/ 702 w 3136"/>
                <a:gd name="T75" fmla="*/ 4778 h 6388"/>
                <a:gd name="T76" fmla="*/ 654 w 3136"/>
                <a:gd name="T77" fmla="*/ 4572 h 6388"/>
                <a:gd name="T78" fmla="*/ 579 w 3136"/>
                <a:gd name="T79" fmla="*/ 4120 h 6388"/>
                <a:gd name="T80" fmla="*/ 549 w 3136"/>
                <a:gd name="T81" fmla="*/ 3778 h 6388"/>
                <a:gd name="T82" fmla="*/ 1663 w 3136"/>
                <a:gd name="T83" fmla="*/ 3603 h 6388"/>
                <a:gd name="T84" fmla="*/ 2156 w 3136"/>
                <a:gd name="T85" fmla="*/ 3512 h 6388"/>
                <a:gd name="T86" fmla="*/ 2523 w 3136"/>
                <a:gd name="T87" fmla="*/ 3427 h 6388"/>
                <a:gd name="T88" fmla="*/ 2750 w 3136"/>
                <a:gd name="T89" fmla="*/ 3351 h 6388"/>
                <a:gd name="T90" fmla="*/ 3120 w 3136"/>
                <a:gd name="T91" fmla="*/ 3200 h 6388"/>
                <a:gd name="T92" fmla="*/ 3100 w 3136"/>
                <a:gd name="T93" fmla="*/ 3166 h 6388"/>
                <a:gd name="T94" fmla="*/ 2988 w 3136"/>
                <a:gd name="T95" fmla="*/ 3046 h 6388"/>
                <a:gd name="T96" fmla="*/ 2917 w 3136"/>
                <a:gd name="T97" fmla="*/ 2889 h 6388"/>
                <a:gd name="T98" fmla="*/ 2861 w 3136"/>
                <a:gd name="T99" fmla="*/ 2623 h 6388"/>
                <a:gd name="T100" fmla="*/ 2840 w 3136"/>
                <a:gd name="T101" fmla="*/ 2462 h 6388"/>
                <a:gd name="T102" fmla="*/ 2843 w 3136"/>
                <a:gd name="T103" fmla="*/ 2484 h 6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36" h="6388">
                  <a:moveTo>
                    <a:pt x="2843" y="2484"/>
                  </a:moveTo>
                  <a:lnTo>
                    <a:pt x="2838" y="2432"/>
                  </a:lnTo>
                  <a:lnTo>
                    <a:pt x="2834" y="2343"/>
                  </a:lnTo>
                  <a:lnTo>
                    <a:pt x="2836" y="2269"/>
                  </a:lnTo>
                  <a:lnTo>
                    <a:pt x="2847" y="2210"/>
                  </a:lnTo>
                  <a:lnTo>
                    <a:pt x="2855" y="2185"/>
                  </a:lnTo>
                  <a:lnTo>
                    <a:pt x="2712" y="2241"/>
                  </a:lnTo>
                  <a:lnTo>
                    <a:pt x="2497" y="2315"/>
                  </a:lnTo>
                  <a:lnTo>
                    <a:pt x="2349" y="2356"/>
                  </a:lnTo>
                  <a:lnTo>
                    <a:pt x="2275" y="2372"/>
                  </a:lnTo>
                  <a:lnTo>
                    <a:pt x="2127" y="2397"/>
                  </a:lnTo>
                  <a:lnTo>
                    <a:pt x="1831" y="2436"/>
                  </a:lnTo>
                  <a:lnTo>
                    <a:pt x="1682" y="2453"/>
                  </a:lnTo>
                  <a:lnTo>
                    <a:pt x="1418" y="2479"/>
                  </a:lnTo>
                  <a:lnTo>
                    <a:pt x="892" y="2521"/>
                  </a:lnTo>
                  <a:lnTo>
                    <a:pt x="629" y="2539"/>
                  </a:lnTo>
                  <a:lnTo>
                    <a:pt x="647" y="2445"/>
                  </a:lnTo>
                  <a:lnTo>
                    <a:pt x="689" y="2259"/>
                  </a:lnTo>
                  <a:lnTo>
                    <a:pt x="738" y="2073"/>
                  </a:lnTo>
                  <a:lnTo>
                    <a:pt x="792" y="1891"/>
                  </a:lnTo>
                  <a:lnTo>
                    <a:pt x="855" y="1711"/>
                  </a:lnTo>
                  <a:lnTo>
                    <a:pt x="923" y="1532"/>
                  </a:lnTo>
                  <a:lnTo>
                    <a:pt x="999" y="1357"/>
                  </a:lnTo>
                  <a:lnTo>
                    <a:pt x="1080" y="1183"/>
                  </a:lnTo>
                  <a:lnTo>
                    <a:pt x="1124" y="1099"/>
                  </a:lnTo>
                  <a:lnTo>
                    <a:pt x="1177" y="998"/>
                  </a:lnTo>
                  <a:lnTo>
                    <a:pt x="1291" y="799"/>
                  </a:lnTo>
                  <a:lnTo>
                    <a:pt x="1413" y="606"/>
                  </a:lnTo>
                  <a:lnTo>
                    <a:pt x="1544" y="418"/>
                  </a:lnTo>
                  <a:lnTo>
                    <a:pt x="1613" y="328"/>
                  </a:lnTo>
                  <a:lnTo>
                    <a:pt x="1184" y="0"/>
                  </a:lnTo>
                  <a:lnTo>
                    <a:pt x="1072" y="149"/>
                  </a:lnTo>
                  <a:lnTo>
                    <a:pt x="865" y="460"/>
                  </a:lnTo>
                  <a:lnTo>
                    <a:pt x="678" y="782"/>
                  </a:lnTo>
                  <a:lnTo>
                    <a:pt x="553" y="1033"/>
                  </a:lnTo>
                  <a:lnTo>
                    <a:pt x="476" y="1204"/>
                  </a:lnTo>
                  <a:lnTo>
                    <a:pt x="440" y="1289"/>
                  </a:lnTo>
                  <a:lnTo>
                    <a:pt x="402" y="1380"/>
                  </a:lnTo>
                  <a:lnTo>
                    <a:pt x="334" y="1564"/>
                  </a:lnTo>
                  <a:lnTo>
                    <a:pt x="270" y="1749"/>
                  </a:lnTo>
                  <a:lnTo>
                    <a:pt x="214" y="1939"/>
                  </a:lnTo>
                  <a:lnTo>
                    <a:pt x="164" y="2128"/>
                  </a:lnTo>
                  <a:lnTo>
                    <a:pt x="121" y="2320"/>
                  </a:lnTo>
                  <a:lnTo>
                    <a:pt x="83" y="2513"/>
                  </a:lnTo>
                  <a:lnTo>
                    <a:pt x="54" y="2706"/>
                  </a:lnTo>
                  <a:lnTo>
                    <a:pt x="41" y="2803"/>
                  </a:lnTo>
                  <a:lnTo>
                    <a:pt x="29" y="2908"/>
                  </a:lnTo>
                  <a:lnTo>
                    <a:pt x="12" y="3117"/>
                  </a:lnTo>
                  <a:lnTo>
                    <a:pt x="2" y="3326"/>
                  </a:lnTo>
                  <a:lnTo>
                    <a:pt x="0" y="3534"/>
                  </a:lnTo>
                  <a:lnTo>
                    <a:pt x="6" y="3744"/>
                  </a:lnTo>
                  <a:lnTo>
                    <a:pt x="19" y="3953"/>
                  </a:lnTo>
                  <a:lnTo>
                    <a:pt x="39" y="4160"/>
                  </a:lnTo>
                  <a:lnTo>
                    <a:pt x="68" y="4368"/>
                  </a:lnTo>
                  <a:lnTo>
                    <a:pt x="85" y="4471"/>
                  </a:lnTo>
                  <a:lnTo>
                    <a:pt x="102" y="4567"/>
                  </a:lnTo>
                  <a:lnTo>
                    <a:pt x="142" y="4758"/>
                  </a:lnTo>
                  <a:lnTo>
                    <a:pt x="187" y="4947"/>
                  </a:lnTo>
                  <a:lnTo>
                    <a:pt x="239" y="5135"/>
                  </a:lnTo>
                  <a:lnTo>
                    <a:pt x="297" y="5320"/>
                  </a:lnTo>
                  <a:lnTo>
                    <a:pt x="362" y="5504"/>
                  </a:lnTo>
                  <a:lnTo>
                    <a:pt x="433" y="5686"/>
                  </a:lnTo>
                  <a:lnTo>
                    <a:pt x="510" y="5865"/>
                  </a:lnTo>
                  <a:lnTo>
                    <a:pt x="551" y="5953"/>
                  </a:lnTo>
                  <a:lnTo>
                    <a:pt x="604" y="6064"/>
                  </a:lnTo>
                  <a:lnTo>
                    <a:pt x="719" y="6281"/>
                  </a:lnTo>
                  <a:lnTo>
                    <a:pt x="779" y="6388"/>
                  </a:lnTo>
                  <a:lnTo>
                    <a:pt x="1246" y="6116"/>
                  </a:lnTo>
                  <a:lnTo>
                    <a:pt x="1198" y="6033"/>
                  </a:lnTo>
                  <a:lnTo>
                    <a:pt x="1107" y="5862"/>
                  </a:lnTo>
                  <a:lnTo>
                    <a:pt x="1023" y="5688"/>
                  </a:lnTo>
                  <a:lnTo>
                    <a:pt x="945" y="5511"/>
                  </a:lnTo>
                  <a:lnTo>
                    <a:pt x="874" y="5332"/>
                  </a:lnTo>
                  <a:lnTo>
                    <a:pt x="809" y="5149"/>
                  </a:lnTo>
                  <a:lnTo>
                    <a:pt x="752" y="4965"/>
                  </a:lnTo>
                  <a:lnTo>
                    <a:pt x="702" y="4778"/>
                  </a:lnTo>
                  <a:lnTo>
                    <a:pt x="678" y="4684"/>
                  </a:lnTo>
                  <a:lnTo>
                    <a:pt x="654" y="4572"/>
                  </a:lnTo>
                  <a:lnTo>
                    <a:pt x="611" y="4347"/>
                  </a:lnTo>
                  <a:lnTo>
                    <a:pt x="579" y="4120"/>
                  </a:lnTo>
                  <a:lnTo>
                    <a:pt x="555" y="3892"/>
                  </a:lnTo>
                  <a:lnTo>
                    <a:pt x="549" y="3778"/>
                  </a:lnTo>
                  <a:lnTo>
                    <a:pt x="921" y="3722"/>
                  </a:lnTo>
                  <a:lnTo>
                    <a:pt x="1663" y="3603"/>
                  </a:lnTo>
                  <a:lnTo>
                    <a:pt x="2034" y="3535"/>
                  </a:lnTo>
                  <a:lnTo>
                    <a:pt x="2156" y="3512"/>
                  </a:lnTo>
                  <a:lnTo>
                    <a:pt x="2401" y="3459"/>
                  </a:lnTo>
                  <a:lnTo>
                    <a:pt x="2523" y="3427"/>
                  </a:lnTo>
                  <a:lnTo>
                    <a:pt x="2599" y="3403"/>
                  </a:lnTo>
                  <a:lnTo>
                    <a:pt x="2750" y="3351"/>
                  </a:lnTo>
                  <a:lnTo>
                    <a:pt x="2974" y="3262"/>
                  </a:lnTo>
                  <a:lnTo>
                    <a:pt x="3120" y="3200"/>
                  </a:lnTo>
                  <a:lnTo>
                    <a:pt x="3136" y="3192"/>
                  </a:lnTo>
                  <a:lnTo>
                    <a:pt x="3100" y="3166"/>
                  </a:lnTo>
                  <a:lnTo>
                    <a:pt x="3037" y="3109"/>
                  </a:lnTo>
                  <a:lnTo>
                    <a:pt x="2988" y="3046"/>
                  </a:lnTo>
                  <a:lnTo>
                    <a:pt x="2948" y="2973"/>
                  </a:lnTo>
                  <a:lnTo>
                    <a:pt x="2917" y="2889"/>
                  </a:lnTo>
                  <a:lnTo>
                    <a:pt x="2891" y="2793"/>
                  </a:lnTo>
                  <a:lnTo>
                    <a:pt x="2861" y="2623"/>
                  </a:lnTo>
                  <a:lnTo>
                    <a:pt x="2843" y="2484"/>
                  </a:lnTo>
                  <a:lnTo>
                    <a:pt x="2840" y="2462"/>
                  </a:lnTo>
                  <a:lnTo>
                    <a:pt x="2865" y="2661"/>
                  </a:lnTo>
                  <a:lnTo>
                    <a:pt x="2843" y="248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447B604-25DE-E9FB-58DB-E9057AAAE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9688" y="1705428"/>
              <a:ext cx="1008063" cy="828675"/>
            </a:xfrm>
            <a:custGeom>
              <a:avLst/>
              <a:gdLst>
                <a:gd name="T0" fmla="*/ 124 w 2539"/>
                <a:gd name="T1" fmla="*/ 1836 h 2085"/>
                <a:gd name="T2" fmla="*/ 506 w 2539"/>
                <a:gd name="T3" fmla="*/ 1892 h 2085"/>
                <a:gd name="T4" fmla="*/ 633 w 2539"/>
                <a:gd name="T5" fmla="*/ 1886 h 2085"/>
                <a:gd name="T6" fmla="*/ 803 w 2539"/>
                <a:gd name="T7" fmla="*/ 2007 h 2085"/>
                <a:gd name="T8" fmla="*/ 1003 w 2539"/>
                <a:gd name="T9" fmla="*/ 2075 h 2085"/>
                <a:gd name="T10" fmla="*/ 1214 w 2539"/>
                <a:gd name="T11" fmla="*/ 2077 h 2085"/>
                <a:gd name="T12" fmla="*/ 1370 w 2539"/>
                <a:gd name="T13" fmla="*/ 2032 h 2085"/>
                <a:gd name="T14" fmla="*/ 1767 w 2539"/>
                <a:gd name="T15" fmla="*/ 1857 h 2085"/>
                <a:gd name="T16" fmla="*/ 2381 w 2539"/>
                <a:gd name="T17" fmla="*/ 1586 h 2085"/>
                <a:gd name="T18" fmla="*/ 2434 w 2539"/>
                <a:gd name="T19" fmla="*/ 1554 h 2085"/>
                <a:gd name="T20" fmla="*/ 2489 w 2539"/>
                <a:gd name="T21" fmla="*/ 1490 h 2085"/>
                <a:gd name="T22" fmla="*/ 2539 w 2539"/>
                <a:gd name="T23" fmla="*/ 1352 h 2085"/>
                <a:gd name="T24" fmla="*/ 2537 w 2539"/>
                <a:gd name="T25" fmla="*/ 1293 h 2085"/>
                <a:gd name="T26" fmla="*/ 2515 w 2539"/>
                <a:gd name="T27" fmla="*/ 1230 h 2085"/>
                <a:gd name="T28" fmla="*/ 2479 w 2539"/>
                <a:gd name="T29" fmla="*/ 1195 h 2085"/>
                <a:gd name="T30" fmla="*/ 2371 w 2539"/>
                <a:gd name="T31" fmla="*/ 1143 h 2085"/>
                <a:gd name="T32" fmla="*/ 2333 w 2539"/>
                <a:gd name="T33" fmla="*/ 1110 h 2085"/>
                <a:gd name="T34" fmla="*/ 2329 w 2539"/>
                <a:gd name="T35" fmla="*/ 1078 h 2085"/>
                <a:gd name="T36" fmla="*/ 2343 w 2539"/>
                <a:gd name="T37" fmla="*/ 963 h 2085"/>
                <a:gd name="T38" fmla="*/ 2339 w 2539"/>
                <a:gd name="T39" fmla="*/ 904 h 2085"/>
                <a:gd name="T40" fmla="*/ 2313 w 2539"/>
                <a:gd name="T41" fmla="*/ 838 h 2085"/>
                <a:gd name="T42" fmla="*/ 2272 w 2539"/>
                <a:gd name="T43" fmla="*/ 802 h 2085"/>
                <a:gd name="T44" fmla="*/ 2164 w 2539"/>
                <a:gd name="T45" fmla="*/ 751 h 2085"/>
                <a:gd name="T46" fmla="*/ 2130 w 2539"/>
                <a:gd name="T47" fmla="*/ 716 h 2085"/>
                <a:gd name="T48" fmla="*/ 2123 w 2539"/>
                <a:gd name="T49" fmla="*/ 657 h 2085"/>
                <a:gd name="T50" fmla="*/ 2145 w 2539"/>
                <a:gd name="T51" fmla="*/ 540 h 2085"/>
                <a:gd name="T52" fmla="*/ 2141 w 2539"/>
                <a:gd name="T53" fmla="*/ 493 h 2085"/>
                <a:gd name="T54" fmla="*/ 2103 w 2539"/>
                <a:gd name="T55" fmla="*/ 429 h 2085"/>
                <a:gd name="T56" fmla="*/ 1967 w 2539"/>
                <a:gd name="T57" fmla="*/ 356 h 2085"/>
                <a:gd name="T58" fmla="*/ 1922 w 2539"/>
                <a:gd name="T59" fmla="*/ 329 h 2085"/>
                <a:gd name="T60" fmla="*/ 1906 w 2539"/>
                <a:gd name="T61" fmla="*/ 302 h 2085"/>
                <a:gd name="T62" fmla="*/ 1915 w 2539"/>
                <a:gd name="T63" fmla="*/ 233 h 2085"/>
                <a:gd name="T64" fmla="*/ 1918 w 2539"/>
                <a:gd name="T65" fmla="*/ 191 h 2085"/>
                <a:gd name="T66" fmla="*/ 1897 w 2539"/>
                <a:gd name="T67" fmla="*/ 111 h 2085"/>
                <a:gd name="T68" fmla="*/ 1802 w 2539"/>
                <a:gd name="T69" fmla="*/ 23 h 2085"/>
                <a:gd name="T70" fmla="*/ 1744 w 2539"/>
                <a:gd name="T71" fmla="*/ 6 h 2085"/>
                <a:gd name="T72" fmla="*/ 1639 w 2539"/>
                <a:gd name="T73" fmla="*/ 1 h 2085"/>
                <a:gd name="T74" fmla="*/ 1563 w 2539"/>
                <a:gd name="T75" fmla="*/ 22 h 2085"/>
                <a:gd name="T76" fmla="*/ 1239 w 2539"/>
                <a:gd name="T77" fmla="*/ 153 h 2085"/>
                <a:gd name="T78" fmla="*/ 1232 w 2539"/>
                <a:gd name="T79" fmla="*/ 101 h 2085"/>
                <a:gd name="T80" fmla="*/ 1189 w 2539"/>
                <a:gd name="T81" fmla="*/ 50 h 2085"/>
                <a:gd name="T82" fmla="*/ 1116 w 2539"/>
                <a:gd name="T83" fmla="*/ 19 h 2085"/>
                <a:gd name="T84" fmla="*/ 998 w 2539"/>
                <a:gd name="T85" fmla="*/ 22 h 2085"/>
                <a:gd name="T86" fmla="*/ 846 w 2539"/>
                <a:gd name="T87" fmla="*/ 77 h 2085"/>
                <a:gd name="T88" fmla="*/ 758 w 2539"/>
                <a:gd name="T89" fmla="*/ 125 h 2085"/>
                <a:gd name="T90" fmla="*/ 553 w 2539"/>
                <a:gd name="T91" fmla="*/ 265 h 2085"/>
                <a:gd name="T92" fmla="*/ 421 w 2539"/>
                <a:gd name="T93" fmla="*/ 395 h 2085"/>
                <a:gd name="T94" fmla="*/ 303 w 2539"/>
                <a:gd name="T95" fmla="*/ 566 h 2085"/>
                <a:gd name="T96" fmla="*/ 226 w 2539"/>
                <a:gd name="T97" fmla="*/ 793 h 2085"/>
                <a:gd name="T98" fmla="*/ 216 w 2539"/>
                <a:gd name="T99" fmla="*/ 898 h 2085"/>
                <a:gd name="T100" fmla="*/ 0 w 2539"/>
                <a:gd name="T101" fmla="*/ 1002 h 2085"/>
                <a:gd name="T102" fmla="*/ 45 w 2539"/>
                <a:gd name="T103" fmla="*/ 1059 h 2085"/>
                <a:gd name="T104" fmla="*/ 79 w 2539"/>
                <a:gd name="T105" fmla="*/ 1145 h 2085"/>
                <a:gd name="T106" fmla="*/ 107 w 2539"/>
                <a:gd name="T107" fmla="*/ 1581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39" h="2085">
                  <a:moveTo>
                    <a:pt x="107" y="1581"/>
                  </a:moveTo>
                  <a:lnTo>
                    <a:pt x="124" y="1836"/>
                  </a:lnTo>
                  <a:lnTo>
                    <a:pt x="138" y="2066"/>
                  </a:lnTo>
                  <a:lnTo>
                    <a:pt x="506" y="1892"/>
                  </a:lnTo>
                  <a:lnTo>
                    <a:pt x="598" y="1848"/>
                  </a:lnTo>
                  <a:lnTo>
                    <a:pt x="633" y="1886"/>
                  </a:lnTo>
                  <a:lnTo>
                    <a:pt x="714" y="1953"/>
                  </a:lnTo>
                  <a:lnTo>
                    <a:pt x="803" y="2007"/>
                  </a:lnTo>
                  <a:lnTo>
                    <a:pt x="900" y="2048"/>
                  </a:lnTo>
                  <a:lnTo>
                    <a:pt x="1003" y="2075"/>
                  </a:lnTo>
                  <a:lnTo>
                    <a:pt x="1108" y="2085"/>
                  </a:lnTo>
                  <a:lnTo>
                    <a:pt x="1214" y="2077"/>
                  </a:lnTo>
                  <a:lnTo>
                    <a:pt x="1319" y="2053"/>
                  </a:lnTo>
                  <a:lnTo>
                    <a:pt x="1370" y="2032"/>
                  </a:lnTo>
                  <a:lnTo>
                    <a:pt x="1604" y="1928"/>
                  </a:lnTo>
                  <a:lnTo>
                    <a:pt x="1767" y="1857"/>
                  </a:lnTo>
                  <a:lnTo>
                    <a:pt x="2002" y="1753"/>
                  </a:lnTo>
                  <a:lnTo>
                    <a:pt x="2381" y="1586"/>
                  </a:lnTo>
                  <a:lnTo>
                    <a:pt x="2400" y="1577"/>
                  </a:lnTo>
                  <a:lnTo>
                    <a:pt x="2434" y="1554"/>
                  </a:lnTo>
                  <a:lnTo>
                    <a:pt x="2463" y="1524"/>
                  </a:lnTo>
                  <a:lnTo>
                    <a:pt x="2489" y="1490"/>
                  </a:lnTo>
                  <a:lnTo>
                    <a:pt x="2519" y="1433"/>
                  </a:lnTo>
                  <a:lnTo>
                    <a:pt x="2539" y="1352"/>
                  </a:lnTo>
                  <a:lnTo>
                    <a:pt x="2539" y="1311"/>
                  </a:lnTo>
                  <a:lnTo>
                    <a:pt x="2537" y="1293"/>
                  </a:lnTo>
                  <a:lnTo>
                    <a:pt x="2530" y="1260"/>
                  </a:lnTo>
                  <a:lnTo>
                    <a:pt x="2515" y="1230"/>
                  </a:lnTo>
                  <a:lnTo>
                    <a:pt x="2493" y="1205"/>
                  </a:lnTo>
                  <a:lnTo>
                    <a:pt x="2479" y="1195"/>
                  </a:lnTo>
                  <a:lnTo>
                    <a:pt x="2426" y="1166"/>
                  </a:lnTo>
                  <a:lnTo>
                    <a:pt x="2371" y="1143"/>
                  </a:lnTo>
                  <a:lnTo>
                    <a:pt x="2351" y="1131"/>
                  </a:lnTo>
                  <a:lnTo>
                    <a:pt x="2333" y="1110"/>
                  </a:lnTo>
                  <a:lnTo>
                    <a:pt x="2329" y="1091"/>
                  </a:lnTo>
                  <a:lnTo>
                    <a:pt x="2329" y="1078"/>
                  </a:lnTo>
                  <a:lnTo>
                    <a:pt x="2334" y="1039"/>
                  </a:lnTo>
                  <a:lnTo>
                    <a:pt x="2343" y="963"/>
                  </a:lnTo>
                  <a:lnTo>
                    <a:pt x="2342" y="923"/>
                  </a:lnTo>
                  <a:lnTo>
                    <a:pt x="2339" y="904"/>
                  </a:lnTo>
                  <a:lnTo>
                    <a:pt x="2329" y="869"/>
                  </a:lnTo>
                  <a:lnTo>
                    <a:pt x="2313" y="838"/>
                  </a:lnTo>
                  <a:lnTo>
                    <a:pt x="2289" y="812"/>
                  </a:lnTo>
                  <a:lnTo>
                    <a:pt x="2272" y="802"/>
                  </a:lnTo>
                  <a:lnTo>
                    <a:pt x="2217" y="777"/>
                  </a:lnTo>
                  <a:lnTo>
                    <a:pt x="2164" y="751"/>
                  </a:lnTo>
                  <a:lnTo>
                    <a:pt x="2149" y="741"/>
                  </a:lnTo>
                  <a:lnTo>
                    <a:pt x="2130" y="716"/>
                  </a:lnTo>
                  <a:lnTo>
                    <a:pt x="2123" y="688"/>
                  </a:lnTo>
                  <a:lnTo>
                    <a:pt x="2123" y="657"/>
                  </a:lnTo>
                  <a:lnTo>
                    <a:pt x="2132" y="608"/>
                  </a:lnTo>
                  <a:lnTo>
                    <a:pt x="2145" y="540"/>
                  </a:lnTo>
                  <a:lnTo>
                    <a:pt x="2143" y="510"/>
                  </a:lnTo>
                  <a:lnTo>
                    <a:pt x="2141" y="493"/>
                  </a:lnTo>
                  <a:lnTo>
                    <a:pt x="2130" y="464"/>
                  </a:lnTo>
                  <a:lnTo>
                    <a:pt x="2103" y="429"/>
                  </a:lnTo>
                  <a:lnTo>
                    <a:pt x="2025" y="381"/>
                  </a:lnTo>
                  <a:lnTo>
                    <a:pt x="1967" y="356"/>
                  </a:lnTo>
                  <a:lnTo>
                    <a:pt x="1949" y="347"/>
                  </a:lnTo>
                  <a:lnTo>
                    <a:pt x="1922" y="329"/>
                  </a:lnTo>
                  <a:lnTo>
                    <a:pt x="1909" y="312"/>
                  </a:lnTo>
                  <a:lnTo>
                    <a:pt x="1906" y="302"/>
                  </a:lnTo>
                  <a:lnTo>
                    <a:pt x="1905" y="278"/>
                  </a:lnTo>
                  <a:lnTo>
                    <a:pt x="1915" y="233"/>
                  </a:lnTo>
                  <a:lnTo>
                    <a:pt x="1918" y="210"/>
                  </a:lnTo>
                  <a:lnTo>
                    <a:pt x="1918" y="191"/>
                  </a:lnTo>
                  <a:lnTo>
                    <a:pt x="1914" y="158"/>
                  </a:lnTo>
                  <a:lnTo>
                    <a:pt x="1897" y="111"/>
                  </a:lnTo>
                  <a:lnTo>
                    <a:pt x="1858" y="59"/>
                  </a:lnTo>
                  <a:lnTo>
                    <a:pt x="1802" y="23"/>
                  </a:lnTo>
                  <a:lnTo>
                    <a:pt x="1769" y="13"/>
                  </a:lnTo>
                  <a:lnTo>
                    <a:pt x="1744" y="6"/>
                  </a:lnTo>
                  <a:lnTo>
                    <a:pt x="1692" y="0"/>
                  </a:lnTo>
                  <a:lnTo>
                    <a:pt x="1639" y="1"/>
                  </a:lnTo>
                  <a:lnTo>
                    <a:pt x="1587" y="13"/>
                  </a:lnTo>
                  <a:lnTo>
                    <a:pt x="1563" y="22"/>
                  </a:lnTo>
                  <a:lnTo>
                    <a:pt x="1236" y="167"/>
                  </a:lnTo>
                  <a:lnTo>
                    <a:pt x="1239" y="153"/>
                  </a:lnTo>
                  <a:lnTo>
                    <a:pt x="1240" y="125"/>
                  </a:lnTo>
                  <a:lnTo>
                    <a:pt x="1232" y="101"/>
                  </a:lnTo>
                  <a:lnTo>
                    <a:pt x="1218" y="79"/>
                  </a:lnTo>
                  <a:lnTo>
                    <a:pt x="1189" y="50"/>
                  </a:lnTo>
                  <a:lnTo>
                    <a:pt x="1140" y="26"/>
                  </a:lnTo>
                  <a:lnTo>
                    <a:pt x="1116" y="19"/>
                  </a:lnTo>
                  <a:lnTo>
                    <a:pt x="1077" y="14"/>
                  </a:lnTo>
                  <a:lnTo>
                    <a:pt x="998" y="22"/>
                  </a:lnTo>
                  <a:lnTo>
                    <a:pt x="920" y="44"/>
                  </a:lnTo>
                  <a:lnTo>
                    <a:pt x="846" y="77"/>
                  </a:lnTo>
                  <a:lnTo>
                    <a:pt x="811" y="96"/>
                  </a:lnTo>
                  <a:lnTo>
                    <a:pt x="758" y="125"/>
                  </a:lnTo>
                  <a:lnTo>
                    <a:pt x="653" y="191"/>
                  </a:lnTo>
                  <a:lnTo>
                    <a:pt x="553" y="265"/>
                  </a:lnTo>
                  <a:lnTo>
                    <a:pt x="462" y="348"/>
                  </a:lnTo>
                  <a:lnTo>
                    <a:pt x="421" y="395"/>
                  </a:lnTo>
                  <a:lnTo>
                    <a:pt x="375" y="448"/>
                  </a:lnTo>
                  <a:lnTo>
                    <a:pt x="303" y="566"/>
                  </a:lnTo>
                  <a:lnTo>
                    <a:pt x="250" y="693"/>
                  </a:lnTo>
                  <a:lnTo>
                    <a:pt x="226" y="793"/>
                  </a:lnTo>
                  <a:lnTo>
                    <a:pt x="217" y="863"/>
                  </a:lnTo>
                  <a:lnTo>
                    <a:pt x="216" y="898"/>
                  </a:lnTo>
                  <a:lnTo>
                    <a:pt x="176" y="917"/>
                  </a:lnTo>
                  <a:lnTo>
                    <a:pt x="0" y="1002"/>
                  </a:lnTo>
                  <a:lnTo>
                    <a:pt x="16" y="1020"/>
                  </a:lnTo>
                  <a:lnTo>
                    <a:pt x="45" y="1059"/>
                  </a:lnTo>
                  <a:lnTo>
                    <a:pt x="66" y="1101"/>
                  </a:lnTo>
                  <a:lnTo>
                    <a:pt x="79" y="1145"/>
                  </a:lnTo>
                  <a:lnTo>
                    <a:pt x="81" y="1167"/>
                  </a:lnTo>
                  <a:lnTo>
                    <a:pt x="107" y="158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FBB522E4-4453-2B71-AC6E-206CF1D3F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075" y="3894591"/>
              <a:ext cx="9525" cy="11113"/>
            </a:xfrm>
            <a:custGeom>
              <a:avLst/>
              <a:gdLst>
                <a:gd name="T0" fmla="*/ 24 w 24"/>
                <a:gd name="T1" fmla="*/ 3 h 29"/>
                <a:gd name="T2" fmla="*/ 1 w 24"/>
                <a:gd name="T3" fmla="*/ 0 h 29"/>
                <a:gd name="T4" fmla="*/ 0 w 24"/>
                <a:gd name="T5" fmla="*/ 15 h 29"/>
                <a:gd name="T6" fmla="*/ 0 w 24"/>
                <a:gd name="T7" fmla="*/ 29 h 29"/>
                <a:gd name="T8" fmla="*/ 12 w 24"/>
                <a:gd name="T9" fmla="*/ 15 h 29"/>
                <a:gd name="T10" fmla="*/ 24 w 24"/>
                <a:gd name="T11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9">
                  <a:moveTo>
                    <a:pt x="24" y="3"/>
                  </a:moveTo>
                  <a:lnTo>
                    <a:pt x="1" y="0"/>
                  </a:lnTo>
                  <a:lnTo>
                    <a:pt x="0" y="15"/>
                  </a:lnTo>
                  <a:lnTo>
                    <a:pt x="0" y="29"/>
                  </a:lnTo>
                  <a:lnTo>
                    <a:pt x="12" y="15"/>
                  </a:lnTo>
                  <a:lnTo>
                    <a:pt x="24" y="3"/>
                  </a:lnTo>
                  <a:close/>
                </a:path>
              </a:pathLst>
            </a:custGeom>
            <a:solidFill>
              <a:srgbClr val="EA7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CC1654B5-D76F-2B37-83D2-0FEE4CBB9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8325" y="2068966"/>
              <a:ext cx="801688" cy="1173163"/>
            </a:xfrm>
            <a:custGeom>
              <a:avLst/>
              <a:gdLst>
                <a:gd name="T0" fmla="*/ 1215 w 2023"/>
                <a:gd name="T1" fmla="*/ 2890 h 2956"/>
                <a:gd name="T2" fmla="*/ 1665 w 2023"/>
                <a:gd name="T3" fmla="*/ 2956 h 2956"/>
                <a:gd name="T4" fmla="*/ 1583 w 2023"/>
                <a:gd name="T5" fmla="*/ 2016 h 2956"/>
                <a:gd name="T6" fmla="*/ 1721 w 2023"/>
                <a:gd name="T7" fmla="*/ 1943 h 2956"/>
                <a:gd name="T8" fmla="*/ 1875 w 2023"/>
                <a:gd name="T9" fmla="*/ 1800 h 2956"/>
                <a:gd name="T10" fmla="*/ 1980 w 2023"/>
                <a:gd name="T11" fmla="*/ 1619 h 2956"/>
                <a:gd name="T12" fmla="*/ 2023 w 2023"/>
                <a:gd name="T13" fmla="*/ 1409 h 2956"/>
                <a:gd name="T14" fmla="*/ 2007 w 2023"/>
                <a:gd name="T15" fmla="*/ 1150 h 2956"/>
                <a:gd name="T16" fmla="*/ 1976 w 2023"/>
                <a:gd name="T17" fmla="*/ 665 h 2956"/>
                <a:gd name="T18" fmla="*/ 1948 w 2023"/>
                <a:gd name="T19" fmla="*/ 231 h 2956"/>
                <a:gd name="T20" fmla="*/ 1919 w 2023"/>
                <a:gd name="T21" fmla="*/ 149 h 2956"/>
                <a:gd name="T22" fmla="*/ 1865 w 2023"/>
                <a:gd name="T23" fmla="*/ 79 h 2956"/>
                <a:gd name="T24" fmla="*/ 1792 w 2023"/>
                <a:gd name="T25" fmla="*/ 27 h 2956"/>
                <a:gd name="T26" fmla="*/ 1732 w 2023"/>
                <a:gd name="T27" fmla="*/ 5 h 2956"/>
                <a:gd name="T28" fmla="*/ 1682 w 2023"/>
                <a:gd name="T29" fmla="*/ 0 h 2956"/>
                <a:gd name="T30" fmla="*/ 1622 w 2023"/>
                <a:gd name="T31" fmla="*/ 21 h 2956"/>
                <a:gd name="T32" fmla="*/ 1563 w 2023"/>
                <a:gd name="T33" fmla="*/ 75 h 2956"/>
                <a:gd name="T34" fmla="*/ 1510 w 2023"/>
                <a:gd name="T35" fmla="*/ 126 h 2956"/>
                <a:gd name="T36" fmla="*/ 1464 w 2023"/>
                <a:gd name="T37" fmla="*/ 130 h 2956"/>
                <a:gd name="T38" fmla="*/ 1415 w 2023"/>
                <a:gd name="T39" fmla="*/ 105 h 2956"/>
                <a:gd name="T40" fmla="*/ 1327 w 2023"/>
                <a:gd name="T41" fmla="*/ 64 h 2956"/>
                <a:gd name="T42" fmla="*/ 1240 w 2023"/>
                <a:gd name="T43" fmla="*/ 54 h 2956"/>
                <a:gd name="T44" fmla="*/ 1192 w 2023"/>
                <a:gd name="T45" fmla="*/ 73 h 2956"/>
                <a:gd name="T46" fmla="*/ 1105 w 2023"/>
                <a:gd name="T47" fmla="*/ 157 h 2956"/>
                <a:gd name="T48" fmla="*/ 1051 w 2023"/>
                <a:gd name="T49" fmla="*/ 188 h 2956"/>
                <a:gd name="T50" fmla="*/ 1012 w 2023"/>
                <a:gd name="T51" fmla="*/ 184 h 2956"/>
                <a:gd name="T52" fmla="*/ 935 w 2023"/>
                <a:gd name="T53" fmla="*/ 140 h 2956"/>
                <a:gd name="T54" fmla="*/ 882 w 2023"/>
                <a:gd name="T55" fmla="*/ 110 h 2956"/>
                <a:gd name="T56" fmla="*/ 801 w 2023"/>
                <a:gd name="T57" fmla="*/ 101 h 2956"/>
                <a:gd name="T58" fmla="*/ 756 w 2023"/>
                <a:gd name="T59" fmla="*/ 119 h 2956"/>
                <a:gd name="T60" fmla="*/ 684 w 2023"/>
                <a:gd name="T61" fmla="*/ 184 h 2956"/>
                <a:gd name="T62" fmla="*/ 636 w 2023"/>
                <a:gd name="T63" fmla="*/ 233 h 2956"/>
                <a:gd name="T64" fmla="*/ 602 w 2023"/>
                <a:gd name="T65" fmla="*/ 254 h 2956"/>
                <a:gd name="T66" fmla="*/ 574 w 2023"/>
                <a:gd name="T67" fmla="*/ 254 h 2956"/>
                <a:gd name="T68" fmla="*/ 534 w 2023"/>
                <a:gd name="T69" fmla="*/ 231 h 2956"/>
                <a:gd name="T70" fmla="*/ 445 w 2023"/>
                <a:gd name="T71" fmla="*/ 198 h 2956"/>
                <a:gd name="T72" fmla="*/ 325 w 2023"/>
                <a:gd name="T73" fmla="*/ 223 h 2956"/>
                <a:gd name="T74" fmla="*/ 276 w 2023"/>
                <a:gd name="T75" fmla="*/ 264 h 2956"/>
                <a:gd name="T76" fmla="*/ 212 w 2023"/>
                <a:gd name="T77" fmla="*/ 382 h 2956"/>
                <a:gd name="T78" fmla="*/ 200 w 2023"/>
                <a:gd name="T79" fmla="*/ 481 h 2956"/>
                <a:gd name="T80" fmla="*/ 191 w 2023"/>
                <a:gd name="T81" fmla="*/ 785 h 2956"/>
                <a:gd name="T82" fmla="*/ 117 w 2023"/>
                <a:gd name="T83" fmla="*/ 795 h 2956"/>
                <a:gd name="T84" fmla="*/ 90 w 2023"/>
                <a:gd name="T85" fmla="*/ 809 h 2956"/>
                <a:gd name="T86" fmla="*/ 40 w 2023"/>
                <a:gd name="T87" fmla="*/ 865 h 2956"/>
                <a:gd name="T88" fmla="*/ 5 w 2023"/>
                <a:gd name="T89" fmla="*/ 984 h 2956"/>
                <a:gd name="T90" fmla="*/ 0 w 2023"/>
                <a:gd name="T91" fmla="*/ 1056 h 2956"/>
                <a:gd name="T92" fmla="*/ 18 w 2023"/>
                <a:gd name="T93" fmla="*/ 1277 h 2956"/>
                <a:gd name="T94" fmla="*/ 41 w 2023"/>
                <a:gd name="T95" fmla="*/ 1434 h 2956"/>
                <a:gd name="T96" fmla="*/ 92 w 2023"/>
                <a:gd name="T97" fmla="*/ 1637 h 2956"/>
                <a:gd name="T98" fmla="*/ 130 w 2023"/>
                <a:gd name="T99" fmla="*/ 1728 h 2956"/>
                <a:gd name="T100" fmla="*/ 206 w 2023"/>
                <a:gd name="T101" fmla="*/ 1834 h 2956"/>
                <a:gd name="T102" fmla="*/ 264 w 2023"/>
                <a:gd name="T103" fmla="*/ 1890 h 2956"/>
                <a:gd name="T104" fmla="*/ 470 w 2023"/>
                <a:gd name="T105" fmla="*/ 2010 h 2956"/>
                <a:gd name="T106" fmla="*/ 576 w 2023"/>
                <a:gd name="T107" fmla="*/ 2225 h 2956"/>
                <a:gd name="T108" fmla="*/ 654 w 2023"/>
                <a:gd name="T109" fmla="*/ 2858 h 2956"/>
                <a:gd name="T110" fmla="*/ 741 w 2023"/>
                <a:gd name="T111" fmla="*/ 2829 h 2956"/>
                <a:gd name="T112" fmla="*/ 806 w 2023"/>
                <a:gd name="T113" fmla="*/ 2829 h 2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23" h="2956">
                  <a:moveTo>
                    <a:pt x="806" y="2829"/>
                  </a:moveTo>
                  <a:lnTo>
                    <a:pt x="1215" y="2890"/>
                  </a:lnTo>
                  <a:lnTo>
                    <a:pt x="1469" y="2928"/>
                  </a:lnTo>
                  <a:lnTo>
                    <a:pt x="1665" y="2956"/>
                  </a:lnTo>
                  <a:lnTo>
                    <a:pt x="1603" y="2222"/>
                  </a:lnTo>
                  <a:lnTo>
                    <a:pt x="1583" y="2016"/>
                  </a:lnTo>
                  <a:lnTo>
                    <a:pt x="1630" y="1995"/>
                  </a:lnTo>
                  <a:lnTo>
                    <a:pt x="1721" y="1943"/>
                  </a:lnTo>
                  <a:lnTo>
                    <a:pt x="1802" y="1877"/>
                  </a:lnTo>
                  <a:lnTo>
                    <a:pt x="1875" y="1800"/>
                  </a:lnTo>
                  <a:lnTo>
                    <a:pt x="1935" y="1714"/>
                  </a:lnTo>
                  <a:lnTo>
                    <a:pt x="1980" y="1619"/>
                  </a:lnTo>
                  <a:lnTo>
                    <a:pt x="2010" y="1516"/>
                  </a:lnTo>
                  <a:lnTo>
                    <a:pt x="2023" y="1409"/>
                  </a:lnTo>
                  <a:lnTo>
                    <a:pt x="2020" y="1354"/>
                  </a:lnTo>
                  <a:lnTo>
                    <a:pt x="2007" y="1150"/>
                  </a:lnTo>
                  <a:lnTo>
                    <a:pt x="1993" y="920"/>
                  </a:lnTo>
                  <a:lnTo>
                    <a:pt x="1976" y="665"/>
                  </a:lnTo>
                  <a:lnTo>
                    <a:pt x="1950" y="251"/>
                  </a:lnTo>
                  <a:lnTo>
                    <a:pt x="1948" y="231"/>
                  </a:lnTo>
                  <a:lnTo>
                    <a:pt x="1937" y="189"/>
                  </a:lnTo>
                  <a:lnTo>
                    <a:pt x="1919" y="149"/>
                  </a:lnTo>
                  <a:lnTo>
                    <a:pt x="1894" y="113"/>
                  </a:lnTo>
                  <a:lnTo>
                    <a:pt x="1865" y="79"/>
                  </a:lnTo>
                  <a:lnTo>
                    <a:pt x="1830" y="51"/>
                  </a:lnTo>
                  <a:lnTo>
                    <a:pt x="1792" y="27"/>
                  </a:lnTo>
                  <a:lnTo>
                    <a:pt x="1753" y="10"/>
                  </a:lnTo>
                  <a:lnTo>
                    <a:pt x="1732" y="5"/>
                  </a:lnTo>
                  <a:lnTo>
                    <a:pt x="1716" y="1"/>
                  </a:lnTo>
                  <a:lnTo>
                    <a:pt x="1682" y="0"/>
                  </a:lnTo>
                  <a:lnTo>
                    <a:pt x="1652" y="5"/>
                  </a:lnTo>
                  <a:lnTo>
                    <a:pt x="1622" y="21"/>
                  </a:lnTo>
                  <a:lnTo>
                    <a:pt x="1608" y="31"/>
                  </a:lnTo>
                  <a:lnTo>
                    <a:pt x="1563" y="75"/>
                  </a:lnTo>
                  <a:lnTo>
                    <a:pt x="1519" y="118"/>
                  </a:lnTo>
                  <a:lnTo>
                    <a:pt x="1510" y="126"/>
                  </a:lnTo>
                  <a:lnTo>
                    <a:pt x="1491" y="132"/>
                  </a:lnTo>
                  <a:lnTo>
                    <a:pt x="1464" y="130"/>
                  </a:lnTo>
                  <a:lnTo>
                    <a:pt x="1445" y="121"/>
                  </a:lnTo>
                  <a:lnTo>
                    <a:pt x="1415" y="105"/>
                  </a:lnTo>
                  <a:lnTo>
                    <a:pt x="1358" y="74"/>
                  </a:lnTo>
                  <a:lnTo>
                    <a:pt x="1327" y="64"/>
                  </a:lnTo>
                  <a:lnTo>
                    <a:pt x="1292" y="54"/>
                  </a:lnTo>
                  <a:lnTo>
                    <a:pt x="1240" y="54"/>
                  </a:lnTo>
                  <a:lnTo>
                    <a:pt x="1208" y="64"/>
                  </a:lnTo>
                  <a:lnTo>
                    <a:pt x="1192" y="73"/>
                  </a:lnTo>
                  <a:lnTo>
                    <a:pt x="1147" y="111"/>
                  </a:lnTo>
                  <a:lnTo>
                    <a:pt x="1105" y="157"/>
                  </a:lnTo>
                  <a:lnTo>
                    <a:pt x="1086" y="174"/>
                  </a:lnTo>
                  <a:lnTo>
                    <a:pt x="1051" y="188"/>
                  </a:lnTo>
                  <a:lnTo>
                    <a:pt x="1025" y="188"/>
                  </a:lnTo>
                  <a:lnTo>
                    <a:pt x="1012" y="184"/>
                  </a:lnTo>
                  <a:lnTo>
                    <a:pt x="985" y="174"/>
                  </a:lnTo>
                  <a:lnTo>
                    <a:pt x="935" y="140"/>
                  </a:lnTo>
                  <a:lnTo>
                    <a:pt x="911" y="124"/>
                  </a:lnTo>
                  <a:lnTo>
                    <a:pt x="882" y="110"/>
                  </a:lnTo>
                  <a:lnTo>
                    <a:pt x="833" y="99"/>
                  </a:lnTo>
                  <a:lnTo>
                    <a:pt x="801" y="101"/>
                  </a:lnTo>
                  <a:lnTo>
                    <a:pt x="785" y="105"/>
                  </a:lnTo>
                  <a:lnTo>
                    <a:pt x="756" y="119"/>
                  </a:lnTo>
                  <a:lnTo>
                    <a:pt x="706" y="162"/>
                  </a:lnTo>
                  <a:lnTo>
                    <a:pt x="684" y="184"/>
                  </a:lnTo>
                  <a:lnTo>
                    <a:pt x="666" y="204"/>
                  </a:lnTo>
                  <a:lnTo>
                    <a:pt x="636" y="233"/>
                  </a:lnTo>
                  <a:lnTo>
                    <a:pt x="614" y="250"/>
                  </a:lnTo>
                  <a:lnTo>
                    <a:pt x="602" y="254"/>
                  </a:lnTo>
                  <a:lnTo>
                    <a:pt x="592" y="257"/>
                  </a:lnTo>
                  <a:lnTo>
                    <a:pt x="574" y="254"/>
                  </a:lnTo>
                  <a:lnTo>
                    <a:pt x="549" y="241"/>
                  </a:lnTo>
                  <a:lnTo>
                    <a:pt x="534" y="231"/>
                  </a:lnTo>
                  <a:lnTo>
                    <a:pt x="505" y="215"/>
                  </a:lnTo>
                  <a:lnTo>
                    <a:pt x="445" y="198"/>
                  </a:lnTo>
                  <a:lnTo>
                    <a:pt x="383" y="201"/>
                  </a:lnTo>
                  <a:lnTo>
                    <a:pt x="325" y="223"/>
                  </a:lnTo>
                  <a:lnTo>
                    <a:pt x="299" y="242"/>
                  </a:lnTo>
                  <a:lnTo>
                    <a:pt x="276" y="264"/>
                  </a:lnTo>
                  <a:lnTo>
                    <a:pt x="238" y="320"/>
                  </a:lnTo>
                  <a:lnTo>
                    <a:pt x="212" y="382"/>
                  </a:lnTo>
                  <a:lnTo>
                    <a:pt x="199" y="448"/>
                  </a:lnTo>
                  <a:lnTo>
                    <a:pt x="200" y="481"/>
                  </a:lnTo>
                  <a:lnTo>
                    <a:pt x="220" y="793"/>
                  </a:lnTo>
                  <a:lnTo>
                    <a:pt x="191" y="785"/>
                  </a:lnTo>
                  <a:lnTo>
                    <a:pt x="146" y="787"/>
                  </a:lnTo>
                  <a:lnTo>
                    <a:pt x="117" y="795"/>
                  </a:lnTo>
                  <a:lnTo>
                    <a:pt x="103" y="801"/>
                  </a:lnTo>
                  <a:lnTo>
                    <a:pt x="90" y="809"/>
                  </a:lnTo>
                  <a:lnTo>
                    <a:pt x="67" y="828"/>
                  </a:lnTo>
                  <a:lnTo>
                    <a:pt x="40" y="865"/>
                  </a:lnTo>
                  <a:lnTo>
                    <a:pt x="16" y="922"/>
                  </a:lnTo>
                  <a:lnTo>
                    <a:pt x="5" y="984"/>
                  </a:lnTo>
                  <a:lnTo>
                    <a:pt x="2" y="1014"/>
                  </a:lnTo>
                  <a:lnTo>
                    <a:pt x="0" y="1056"/>
                  </a:lnTo>
                  <a:lnTo>
                    <a:pt x="3" y="1145"/>
                  </a:lnTo>
                  <a:lnTo>
                    <a:pt x="18" y="1277"/>
                  </a:lnTo>
                  <a:lnTo>
                    <a:pt x="31" y="1365"/>
                  </a:lnTo>
                  <a:lnTo>
                    <a:pt x="41" y="1434"/>
                  </a:lnTo>
                  <a:lnTo>
                    <a:pt x="71" y="1570"/>
                  </a:lnTo>
                  <a:lnTo>
                    <a:pt x="92" y="1637"/>
                  </a:lnTo>
                  <a:lnTo>
                    <a:pt x="103" y="1668"/>
                  </a:lnTo>
                  <a:lnTo>
                    <a:pt x="130" y="1728"/>
                  </a:lnTo>
                  <a:lnTo>
                    <a:pt x="164" y="1784"/>
                  </a:lnTo>
                  <a:lnTo>
                    <a:pt x="206" y="1834"/>
                  </a:lnTo>
                  <a:lnTo>
                    <a:pt x="229" y="1857"/>
                  </a:lnTo>
                  <a:lnTo>
                    <a:pt x="264" y="1890"/>
                  </a:lnTo>
                  <a:lnTo>
                    <a:pt x="343" y="1944"/>
                  </a:lnTo>
                  <a:lnTo>
                    <a:pt x="470" y="2010"/>
                  </a:lnTo>
                  <a:lnTo>
                    <a:pt x="558" y="2047"/>
                  </a:lnTo>
                  <a:lnTo>
                    <a:pt x="576" y="2225"/>
                  </a:lnTo>
                  <a:lnTo>
                    <a:pt x="633" y="2868"/>
                  </a:lnTo>
                  <a:lnTo>
                    <a:pt x="654" y="2858"/>
                  </a:lnTo>
                  <a:lnTo>
                    <a:pt x="697" y="2840"/>
                  </a:lnTo>
                  <a:lnTo>
                    <a:pt x="741" y="2829"/>
                  </a:lnTo>
                  <a:lnTo>
                    <a:pt x="785" y="2827"/>
                  </a:lnTo>
                  <a:lnTo>
                    <a:pt x="806" y="282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A2D27784-868C-F83B-042F-FB21565E2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0775" y="3953328"/>
              <a:ext cx="2335213" cy="1281113"/>
            </a:xfrm>
            <a:custGeom>
              <a:avLst/>
              <a:gdLst>
                <a:gd name="T0" fmla="*/ 3068 w 5886"/>
                <a:gd name="T1" fmla="*/ 175 h 3230"/>
                <a:gd name="T2" fmla="*/ 2826 w 5886"/>
                <a:gd name="T3" fmla="*/ 143 h 3230"/>
                <a:gd name="T4" fmla="*/ 2661 w 5886"/>
                <a:gd name="T5" fmla="*/ 96 h 3230"/>
                <a:gd name="T6" fmla="*/ 2563 w 5886"/>
                <a:gd name="T7" fmla="*/ 43 h 3230"/>
                <a:gd name="T8" fmla="*/ 2524 w 5886"/>
                <a:gd name="T9" fmla="*/ 0 h 3230"/>
                <a:gd name="T10" fmla="*/ 2503 w 5886"/>
                <a:gd name="T11" fmla="*/ 183 h 3230"/>
                <a:gd name="T12" fmla="*/ 2441 w 5886"/>
                <a:gd name="T13" fmla="*/ 483 h 3230"/>
                <a:gd name="T14" fmla="*/ 2310 w 5886"/>
                <a:gd name="T15" fmla="*/ 1008 h 3230"/>
                <a:gd name="T16" fmla="*/ 2156 w 5886"/>
                <a:gd name="T17" fmla="*/ 1564 h 3230"/>
                <a:gd name="T18" fmla="*/ 1928 w 5886"/>
                <a:gd name="T19" fmla="*/ 1873 h 3230"/>
                <a:gd name="T20" fmla="*/ 1483 w 5886"/>
                <a:gd name="T21" fmla="*/ 1557 h 3230"/>
                <a:gd name="T22" fmla="*/ 1072 w 5886"/>
                <a:gd name="T23" fmla="*/ 1192 h 3230"/>
                <a:gd name="T24" fmla="*/ 698 w 5886"/>
                <a:gd name="T25" fmla="*/ 782 h 3230"/>
                <a:gd name="T26" fmla="*/ 444 w 5886"/>
                <a:gd name="T27" fmla="*/ 444 h 3230"/>
                <a:gd name="T28" fmla="*/ 0 w 5886"/>
                <a:gd name="T29" fmla="*/ 752 h 3230"/>
                <a:gd name="T30" fmla="*/ 302 w 5886"/>
                <a:gd name="T31" fmla="*/ 1150 h 3230"/>
                <a:gd name="T32" fmla="*/ 756 w 5886"/>
                <a:gd name="T33" fmla="*/ 1639 h 3230"/>
                <a:gd name="T34" fmla="*/ 1001 w 5886"/>
                <a:gd name="T35" fmla="*/ 1859 h 3230"/>
                <a:gd name="T36" fmla="*/ 1522 w 5886"/>
                <a:gd name="T37" fmla="*/ 2254 h 3230"/>
                <a:gd name="T38" fmla="*/ 1941 w 5886"/>
                <a:gd name="T39" fmla="*/ 2508 h 3230"/>
                <a:gd name="T40" fmla="*/ 2375 w 5886"/>
                <a:gd name="T41" fmla="*/ 2728 h 3230"/>
                <a:gd name="T42" fmla="*/ 2980 w 5886"/>
                <a:gd name="T43" fmla="*/ 2960 h 3230"/>
                <a:gd name="T44" fmla="*/ 3294 w 5886"/>
                <a:gd name="T45" fmla="*/ 3049 h 3230"/>
                <a:gd name="T46" fmla="*/ 3933 w 5886"/>
                <a:gd name="T47" fmla="*/ 3176 h 3230"/>
                <a:gd name="T48" fmla="*/ 4420 w 5886"/>
                <a:gd name="T49" fmla="*/ 3223 h 3230"/>
                <a:gd name="T50" fmla="*/ 4972 w 5886"/>
                <a:gd name="T51" fmla="*/ 3227 h 3230"/>
                <a:gd name="T52" fmla="*/ 5705 w 5886"/>
                <a:gd name="T53" fmla="*/ 3149 h 3230"/>
                <a:gd name="T54" fmla="*/ 5779 w 5886"/>
                <a:gd name="T55" fmla="*/ 2585 h 3230"/>
                <a:gd name="T56" fmla="*/ 5758 w 5886"/>
                <a:gd name="T57" fmla="*/ 2589 h 3230"/>
                <a:gd name="T58" fmla="*/ 5654 w 5886"/>
                <a:gd name="T59" fmla="*/ 2606 h 3230"/>
                <a:gd name="T60" fmla="*/ 5241 w 5886"/>
                <a:gd name="T61" fmla="*/ 2664 h 3230"/>
                <a:gd name="T62" fmla="*/ 4823 w 5886"/>
                <a:gd name="T63" fmla="*/ 2690 h 3230"/>
                <a:gd name="T64" fmla="*/ 4406 w 5886"/>
                <a:gd name="T65" fmla="*/ 2681 h 3230"/>
                <a:gd name="T66" fmla="*/ 4094 w 5886"/>
                <a:gd name="T67" fmla="*/ 2652 h 3230"/>
                <a:gd name="T68" fmla="*/ 3751 w 5886"/>
                <a:gd name="T69" fmla="*/ 2598 h 3230"/>
                <a:gd name="T70" fmla="*/ 3302 w 5886"/>
                <a:gd name="T71" fmla="*/ 2492 h 3230"/>
                <a:gd name="T72" fmla="*/ 3267 w 5886"/>
                <a:gd name="T73" fmla="*/ 2098 h 3230"/>
                <a:gd name="T74" fmla="*/ 3477 w 5886"/>
                <a:gd name="T75" fmla="*/ 1013 h 3230"/>
                <a:gd name="T76" fmla="*/ 3563 w 5886"/>
                <a:gd name="T77" fmla="*/ 476 h 3230"/>
                <a:gd name="T78" fmla="*/ 3586 w 5886"/>
                <a:gd name="T79" fmla="*/ 151 h 3230"/>
                <a:gd name="T80" fmla="*/ 3396 w 5886"/>
                <a:gd name="T81" fmla="*/ 181 h 3230"/>
                <a:gd name="T82" fmla="*/ 3144 w 5886"/>
                <a:gd name="T83" fmla="*/ 181 h 3230"/>
                <a:gd name="T84" fmla="*/ 3144 w 5886"/>
                <a:gd name="T85" fmla="*/ 18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886" h="3230">
                  <a:moveTo>
                    <a:pt x="3144" y="181"/>
                  </a:moveTo>
                  <a:lnTo>
                    <a:pt x="3068" y="175"/>
                  </a:lnTo>
                  <a:lnTo>
                    <a:pt x="2936" y="161"/>
                  </a:lnTo>
                  <a:lnTo>
                    <a:pt x="2826" y="143"/>
                  </a:lnTo>
                  <a:lnTo>
                    <a:pt x="2735" y="121"/>
                  </a:lnTo>
                  <a:lnTo>
                    <a:pt x="2661" y="96"/>
                  </a:lnTo>
                  <a:lnTo>
                    <a:pt x="2606" y="70"/>
                  </a:lnTo>
                  <a:lnTo>
                    <a:pt x="2563" y="43"/>
                  </a:lnTo>
                  <a:lnTo>
                    <a:pt x="2534" y="15"/>
                  </a:lnTo>
                  <a:lnTo>
                    <a:pt x="2524" y="0"/>
                  </a:lnTo>
                  <a:lnTo>
                    <a:pt x="2520" y="61"/>
                  </a:lnTo>
                  <a:lnTo>
                    <a:pt x="2503" y="183"/>
                  </a:lnTo>
                  <a:lnTo>
                    <a:pt x="2468" y="363"/>
                  </a:lnTo>
                  <a:lnTo>
                    <a:pt x="2441" y="483"/>
                  </a:lnTo>
                  <a:lnTo>
                    <a:pt x="2401" y="659"/>
                  </a:lnTo>
                  <a:lnTo>
                    <a:pt x="2310" y="1008"/>
                  </a:lnTo>
                  <a:lnTo>
                    <a:pt x="2263" y="1181"/>
                  </a:lnTo>
                  <a:lnTo>
                    <a:pt x="2156" y="1564"/>
                  </a:lnTo>
                  <a:lnTo>
                    <a:pt x="2043" y="1945"/>
                  </a:lnTo>
                  <a:lnTo>
                    <a:pt x="1928" y="1873"/>
                  </a:lnTo>
                  <a:lnTo>
                    <a:pt x="1702" y="1722"/>
                  </a:lnTo>
                  <a:lnTo>
                    <a:pt x="1483" y="1557"/>
                  </a:lnTo>
                  <a:lnTo>
                    <a:pt x="1273" y="1381"/>
                  </a:lnTo>
                  <a:lnTo>
                    <a:pt x="1072" y="1192"/>
                  </a:lnTo>
                  <a:lnTo>
                    <a:pt x="880" y="992"/>
                  </a:lnTo>
                  <a:lnTo>
                    <a:pt x="698" y="782"/>
                  </a:lnTo>
                  <a:lnTo>
                    <a:pt x="525" y="559"/>
                  </a:lnTo>
                  <a:lnTo>
                    <a:pt x="444" y="444"/>
                  </a:lnTo>
                  <a:lnTo>
                    <a:pt x="429" y="454"/>
                  </a:lnTo>
                  <a:lnTo>
                    <a:pt x="0" y="752"/>
                  </a:lnTo>
                  <a:lnTo>
                    <a:pt x="96" y="888"/>
                  </a:lnTo>
                  <a:lnTo>
                    <a:pt x="302" y="1150"/>
                  </a:lnTo>
                  <a:lnTo>
                    <a:pt x="521" y="1402"/>
                  </a:lnTo>
                  <a:lnTo>
                    <a:pt x="756" y="1639"/>
                  </a:lnTo>
                  <a:lnTo>
                    <a:pt x="879" y="1752"/>
                  </a:lnTo>
                  <a:lnTo>
                    <a:pt x="1001" y="1859"/>
                  </a:lnTo>
                  <a:lnTo>
                    <a:pt x="1256" y="2064"/>
                  </a:lnTo>
                  <a:lnTo>
                    <a:pt x="1522" y="2254"/>
                  </a:lnTo>
                  <a:lnTo>
                    <a:pt x="1798" y="2428"/>
                  </a:lnTo>
                  <a:lnTo>
                    <a:pt x="1941" y="2508"/>
                  </a:lnTo>
                  <a:lnTo>
                    <a:pt x="2083" y="2586"/>
                  </a:lnTo>
                  <a:lnTo>
                    <a:pt x="2375" y="2728"/>
                  </a:lnTo>
                  <a:lnTo>
                    <a:pt x="2674" y="2852"/>
                  </a:lnTo>
                  <a:lnTo>
                    <a:pt x="2980" y="2960"/>
                  </a:lnTo>
                  <a:lnTo>
                    <a:pt x="3136" y="3006"/>
                  </a:lnTo>
                  <a:lnTo>
                    <a:pt x="3294" y="3049"/>
                  </a:lnTo>
                  <a:lnTo>
                    <a:pt x="3611" y="3122"/>
                  </a:lnTo>
                  <a:lnTo>
                    <a:pt x="3933" y="3176"/>
                  </a:lnTo>
                  <a:lnTo>
                    <a:pt x="4257" y="3212"/>
                  </a:lnTo>
                  <a:lnTo>
                    <a:pt x="4420" y="3223"/>
                  </a:lnTo>
                  <a:lnTo>
                    <a:pt x="4604" y="3230"/>
                  </a:lnTo>
                  <a:lnTo>
                    <a:pt x="4972" y="3227"/>
                  </a:lnTo>
                  <a:lnTo>
                    <a:pt x="5340" y="3199"/>
                  </a:lnTo>
                  <a:lnTo>
                    <a:pt x="5705" y="3149"/>
                  </a:lnTo>
                  <a:lnTo>
                    <a:pt x="5886" y="3114"/>
                  </a:lnTo>
                  <a:lnTo>
                    <a:pt x="5779" y="2585"/>
                  </a:lnTo>
                  <a:lnTo>
                    <a:pt x="5768" y="2588"/>
                  </a:lnTo>
                  <a:lnTo>
                    <a:pt x="5758" y="2589"/>
                  </a:lnTo>
                  <a:lnTo>
                    <a:pt x="5757" y="2585"/>
                  </a:lnTo>
                  <a:lnTo>
                    <a:pt x="5654" y="2606"/>
                  </a:lnTo>
                  <a:lnTo>
                    <a:pt x="5448" y="2639"/>
                  </a:lnTo>
                  <a:lnTo>
                    <a:pt x="5241" y="2664"/>
                  </a:lnTo>
                  <a:lnTo>
                    <a:pt x="5032" y="2681"/>
                  </a:lnTo>
                  <a:lnTo>
                    <a:pt x="4823" y="2690"/>
                  </a:lnTo>
                  <a:lnTo>
                    <a:pt x="4615" y="2690"/>
                  </a:lnTo>
                  <a:lnTo>
                    <a:pt x="4406" y="2681"/>
                  </a:lnTo>
                  <a:lnTo>
                    <a:pt x="4197" y="2664"/>
                  </a:lnTo>
                  <a:lnTo>
                    <a:pt x="4094" y="2652"/>
                  </a:lnTo>
                  <a:lnTo>
                    <a:pt x="3978" y="2637"/>
                  </a:lnTo>
                  <a:lnTo>
                    <a:pt x="3751" y="2598"/>
                  </a:lnTo>
                  <a:lnTo>
                    <a:pt x="3526" y="2550"/>
                  </a:lnTo>
                  <a:lnTo>
                    <a:pt x="3302" y="2492"/>
                  </a:lnTo>
                  <a:lnTo>
                    <a:pt x="3191" y="2458"/>
                  </a:lnTo>
                  <a:lnTo>
                    <a:pt x="3267" y="2098"/>
                  </a:lnTo>
                  <a:lnTo>
                    <a:pt x="3411" y="1376"/>
                  </a:lnTo>
                  <a:lnTo>
                    <a:pt x="3477" y="1013"/>
                  </a:lnTo>
                  <a:lnTo>
                    <a:pt x="3516" y="799"/>
                  </a:lnTo>
                  <a:lnTo>
                    <a:pt x="3563" y="476"/>
                  </a:lnTo>
                  <a:lnTo>
                    <a:pt x="3583" y="260"/>
                  </a:lnTo>
                  <a:lnTo>
                    <a:pt x="3586" y="151"/>
                  </a:lnTo>
                  <a:lnTo>
                    <a:pt x="3521" y="165"/>
                  </a:lnTo>
                  <a:lnTo>
                    <a:pt x="3396" y="181"/>
                  </a:lnTo>
                  <a:lnTo>
                    <a:pt x="3229" y="186"/>
                  </a:lnTo>
                  <a:lnTo>
                    <a:pt x="3144" y="181"/>
                  </a:lnTo>
                  <a:lnTo>
                    <a:pt x="2950" y="169"/>
                  </a:lnTo>
                  <a:lnTo>
                    <a:pt x="3144" y="181"/>
                  </a:lnTo>
                  <a:lnTo>
                    <a:pt x="3144" y="18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3E177674-BF00-4236-D304-1F4A24094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425" y="3191328"/>
              <a:ext cx="1082675" cy="835025"/>
            </a:xfrm>
            <a:custGeom>
              <a:avLst/>
              <a:gdLst>
                <a:gd name="T0" fmla="*/ 2599 w 2727"/>
                <a:gd name="T1" fmla="*/ 1076 h 2105"/>
                <a:gd name="T2" fmla="*/ 2181 w 2727"/>
                <a:gd name="T3" fmla="*/ 748 h 2105"/>
                <a:gd name="T4" fmla="*/ 2026 w 2727"/>
                <a:gd name="T5" fmla="*/ 680 h 2105"/>
                <a:gd name="T6" fmla="*/ 1947 w 2727"/>
                <a:gd name="T7" fmla="*/ 487 h 2105"/>
                <a:gd name="T8" fmla="*/ 1814 w 2727"/>
                <a:gd name="T9" fmla="*/ 324 h 2105"/>
                <a:gd name="T10" fmla="*/ 1638 w 2727"/>
                <a:gd name="T11" fmla="*/ 209 h 2105"/>
                <a:gd name="T12" fmla="*/ 1481 w 2727"/>
                <a:gd name="T13" fmla="*/ 164 h 2105"/>
                <a:gd name="T14" fmla="*/ 1052 w 2727"/>
                <a:gd name="T15" fmla="*/ 101 h 2105"/>
                <a:gd name="T16" fmla="*/ 389 w 2727"/>
                <a:gd name="T17" fmla="*/ 2 h 2105"/>
                <a:gd name="T18" fmla="*/ 325 w 2727"/>
                <a:gd name="T19" fmla="*/ 1 h 2105"/>
                <a:gd name="T20" fmla="*/ 242 w 2727"/>
                <a:gd name="T21" fmla="*/ 27 h 2105"/>
                <a:gd name="T22" fmla="*/ 168 w 2727"/>
                <a:gd name="T23" fmla="*/ 75 h 2105"/>
                <a:gd name="T24" fmla="*/ 113 w 2727"/>
                <a:gd name="T25" fmla="*/ 141 h 2105"/>
                <a:gd name="T26" fmla="*/ 96 w 2727"/>
                <a:gd name="T27" fmla="*/ 176 h 2105"/>
                <a:gd name="T28" fmla="*/ 85 w 2727"/>
                <a:gd name="T29" fmla="*/ 238 h 2105"/>
                <a:gd name="T30" fmla="*/ 100 w 2727"/>
                <a:gd name="T31" fmla="*/ 286 h 2105"/>
                <a:gd name="T32" fmla="*/ 167 w 2727"/>
                <a:gd name="T33" fmla="*/ 395 h 2105"/>
                <a:gd name="T34" fmla="*/ 176 w 2727"/>
                <a:gd name="T35" fmla="*/ 424 h 2105"/>
                <a:gd name="T36" fmla="*/ 157 w 2727"/>
                <a:gd name="T37" fmla="*/ 466 h 2105"/>
                <a:gd name="T38" fmla="*/ 80 w 2727"/>
                <a:gd name="T39" fmla="*/ 561 h 2105"/>
                <a:gd name="T40" fmla="*/ 48 w 2727"/>
                <a:gd name="T41" fmla="*/ 644 h 2105"/>
                <a:gd name="T42" fmla="*/ 52 w 2727"/>
                <a:gd name="T43" fmla="*/ 696 h 2105"/>
                <a:gd name="T44" fmla="*/ 100 w 2727"/>
                <a:gd name="T45" fmla="*/ 780 h 2105"/>
                <a:gd name="T46" fmla="*/ 131 w 2727"/>
                <a:gd name="T47" fmla="*/ 831 h 2105"/>
                <a:gd name="T48" fmla="*/ 132 w 2727"/>
                <a:gd name="T49" fmla="*/ 896 h 2105"/>
                <a:gd name="T50" fmla="*/ 88 w 2727"/>
                <a:gd name="T51" fmla="*/ 951 h 2105"/>
                <a:gd name="T52" fmla="*/ 27 w 2727"/>
                <a:gd name="T53" fmla="*/ 1015 h 2105"/>
                <a:gd name="T54" fmla="*/ 0 w 2727"/>
                <a:gd name="T55" fmla="*/ 1090 h 2105"/>
                <a:gd name="T56" fmla="*/ 8 w 2727"/>
                <a:gd name="T57" fmla="*/ 1137 h 2105"/>
                <a:gd name="T58" fmla="*/ 54 w 2727"/>
                <a:gd name="T59" fmla="*/ 1221 h 2105"/>
                <a:gd name="T60" fmla="*/ 101 w 2727"/>
                <a:gd name="T61" fmla="*/ 1292 h 2105"/>
                <a:gd name="T62" fmla="*/ 109 w 2727"/>
                <a:gd name="T63" fmla="*/ 1327 h 2105"/>
                <a:gd name="T64" fmla="*/ 87 w 2727"/>
                <a:gd name="T65" fmla="*/ 1367 h 2105"/>
                <a:gd name="T66" fmla="*/ 52 w 2727"/>
                <a:gd name="T67" fmla="*/ 1405 h 2105"/>
                <a:gd name="T68" fmla="*/ 10 w 2727"/>
                <a:gd name="T69" fmla="*/ 1523 h 2105"/>
                <a:gd name="T70" fmla="*/ 35 w 2727"/>
                <a:gd name="T71" fmla="*/ 1616 h 2105"/>
                <a:gd name="T72" fmla="*/ 97 w 2727"/>
                <a:gd name="T73" fmla="*/ 1691 h 2105"/>
                <a:gd name="T74" fmla="*/ 214 w 2727"/>
                <a:gd name="T75" fmla="*/ 1755 h 2105"/>
                <a:gd name="T76" fmla="*/ 304 w 2727"/>
                <a:gd name="T77" fmla="*/ 1770 h 2105"/>
                <a:gd name="T78" fmla="*/ 311 w 2727"/>
                <a:gd name="T79" fmla="*/ 1787 h 2105"/>
                <a:gd name="T80" fmla="*/ 281 w 2727"/>
                <a:gd name="T81" fmla="*/ 1862 h 2105"/>
                <a:gd name="T82" fmla="*/ 299 w 2727"/>
                <a:gd name="T83" fmla="*/ 1921 h 2105"/>
                <a:gd name="T84" fmla="*/ 336 w 2727"/>
                <a:gd name="T85" fmla="*/ 1960 h 2105"/>
                <a:gd name="T86" fmla="*/ 444 w 2727"/>
                <a:gd name="T87" fmla="*/ 2019 h 2105"/>
                <a:gd name="T88" fmla="*/ 552 w 2727"/>
                <a:gd name="T89" fmla="*/ 2052 h 2105"/>
                <a:gd name="T90" fmla="*/ 762 w 2727"/>
                <a:gd name="T91" fmla="*/ 2087 h 2105"/>
                <a:gd name="T92" fmla="*/ 1019 w 2727"/>
                <a:gd name="T93" fmla="*/ 2105 h 2105"/>
                <a:gd name="T94" fmla="*/ 1160 w 2727"/>
                <a:gd name="T95" fmla="*/ 2101 h 2105"/>
                <a:gd name="T96" fmla="*/ 1376 w 2727"/>
                <a:gd name="T97" fmla="*/ 2066 h 2105"/>
                <a:gd name="T98" fmla="*/ 1531 w 2727"/>
                <a:gd name="T99" fmla="*/ 2010 h 2105"/>
                <a:gd name="T100" fmla="*/ 1669 w 2727"/>
                <a:gd name="T101" fmla="*/ 1930 h 2105"/>
                <a:gd name="T102" fmla="*/ 1821 w 2727"/>
                <a:gd name="T103" fmla="*/ 1783 h 2105"/>
                <a:gd name="T104" fmla="*/ 1936 w 2727"/>
                <a:gd name="T105" fmla="*/ 1748 h 2105"/>
                <a:gd name="T106" fmla="*/ 2278 w 2727"/>
                <a:gd name="T107" fmla="*/ 1759 h 2105"/>
                <a:gd name="T108" fmla="*/ 2301 w 2727"/>
                <a:gd name="T109" fmla="*/ 1676 h 2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27" h="2105">
                  <a:moveTo>
                    <a:pt x="2486" y="1304"/>
                  </a:moveTo>
                  <a:lnTo>
                    <a:pt x="2599" y="1076"/>
                  </a:lnTo>
                  <a:lnTo>
                    <a:pt x="2727" y="816"/>
                  </a:lnTo>
                  <a:lnTo>
                    <a:pt x="2181" y="748"/>
                  </a:lnTo>
                  <a:lnTo>
                    <a:pt x="2036" y="731"/>
                  </a:lnTo>
                  <a:lnTo>
                    <a:pt x="2026" y="680"/>
                  </a:lnTo>
                  <a:lnTo>
                    <a:pt x="1995" y="581"/>
                  </a:lnTo>
                  <a:lnTo>
                    <a:pt x="1947" y="487"/>
                  </a:lnTo>
                  <a:lnTo>
                    <a:pt x="1887" y="400"/>
                  </a:lnTo>
                  <a:lnTo>
                    <a:pt x="1814" y="324"/>
                  </a:lnTo>
                  <a:lnTo>
                    <a:pt x="1732" y="259"/>
                  </a:lnTo>
                  <a:lnTo>
                    <a:pt x="1638" y="209"/>
                  </a:lnTo>
                  <a:lnTo>
                    <a:pt x="1536" y="174"/>
                  </a:lnTo>
                  <a:lnTo>
                    <a:pt x="1481" y="164"/>
                  </a:lnTo>
                  <a:lnTo>
                    <a:pt x="1248" y="129"/>
                  </a:lnTo>
                  <a:lnTo>
                    <a:pt x="1052" y="101"/>
                  </a:lnTo>
                  <a:lnTo>
                    <a:pt x="798" y="63"/>
                  </a:lnTo>
                  <a:lnTo>
                    <a:pt x="389" y="2"/>
                  </a:lnTo>
                  <a:lnTo>
                    <a:pt x="368" y="0"/>
                  </a:lnTo>
                  <a:lnTo>
                    <a:pt x="325" y="1"/>
                  </a:lnTo>
                  <a:lnTo>
                    <a:pt x="282" y="10"/>
                  </a:lnTo>
                  <a:lnTo>
                    <a:pt x="242" y="27"/>
                  </a:lnTo>
                  <a:lnTo>
                    <a:pt x="203" y="49"/>
                  </a:lnTo>
                  <a:lnTo>
                    <a:pt x="168" y="75"/>
                  </a:lnTo>
                  <a:lnTo>
                    <a:pt x="139" y="106"/>
                  </a:lnTo>
                  <a:lnTo>
                    <a:pt x="113" y="141"/>
                  </a:lnTo>
                  <a:lnTo>
                    <a:pt x="104" y="159"/>
                  </a:lnTo>
                  <a:lnTo>
                    <a:pt x="96" y="176"/>
                  </a:lnTo>
                  <a:lnTo>
                    <a:pt x="87" y="207"/>
                  </a:lnTo>
                  <a:lnTo>
                    <a:pt x="85" y="238"/>
                  </a:lnTo>
                  <a:lnTo>
                    <a:pt x="93" y="271"/>
                  </a:lnTo>
                  <a:lnTo>
                    <a:pt x="100" y="286"/>
                  </a:lnTo>
                  <a:lnTo>
                    <a:pt x="133" y="341"/>
                  </a:lnTo>
                  <a:lnTo>
                    <a:pt x="167" y="395"/>
                  </a:lnTo>
                  <a:lnTo>
                    <a:pt x="172" y="406"/>
                  </a:lnTo>
                  <a:lnTo>
                    <a:pt x="176" y="424"/>
                  </a:lnTo>
                  <a:lnTo>
                    <a:pt x="170" y="448"/>
                  </a:lnTo>
                  <a:lnTo>
                    <a:pt x="157" y="466"/>
                  </a:lnTo>
                  <a:lnTo>
                    <a:pt x="117" y="512"/>
                  </a:lnTo>
                  <a:lnTo>
                    <a:pt x="80" y="561"/>
                  </a:lnTo>
                  <a:lnTo>
                    <a:pt x="63" y="592"/>
                  </a:lnTo>
                  <a:lnTo>
                    <a:pt x="48" y="644"/>
                  </a:lnTo>
                  <a:lnTo>
                    <a:pt x="47" y="679"/>
                  </a:lnTo>
                  <a:lnTo>
                    <a:pt x="52" y="696"/>
                  </a:lnTo>
                  <a:lnTo>
                    <a:pt x="63" y="726"/>
                  </a:lnTo>
                  <a:lnTo>
                    <a:pt x="100" y="780"/>
                  </a:lnTo>
                  <a:lnTo>
                    <a:pt x="118" y="806"/>
                  </a:lnTo>
                  <a:lnTo>
                    <a:pt x="131" y="831"/>
                  </a:lnTo>
                  <a:lnTo>
                    <a:pt x="137" y="870"/>
                  </a:lnTo>
                  <a:lnTo>
                    <a:pt x="132" y="896"/>
                  </a:lnTo>
                  <a:lnTo>
                    <a:pt x="124" y="907"/>
                  </a:lnTo>
                  <a:lnTo>
                    <a:pt x="88" y="951"/>
                  </a:lnTo>
                  <a:lnTo>
                    <a:pt x="48" y="990"/>
                  </a:lnTo>
                  <a:lnTo>
                    <a:pt x="27" y="1015"/>
                  </a:lnTo>
                  <a:lnTo>
                    <a:pt x="6" y="1059"/>
                  </a:lnTo>
                  <a:lnTo>
                    <a:pt x="0" y="1090"/>
                  </a:lnTo>
                  <a:lnTo>
                    <a:pt x="1" y="1105"/>
                  </a:lnTo>
                  <a:lnTo>
                    <a:pt x="8" y="1137"/>
                  </a:lnTo>
                  <a:lnTo>
                    <a:pt x="37" y="1195"/>
                  </a:lnTo>
                  <a:lnTo>
                    <a:pt x="54" y="1221"/>
                  </a:lnTo>
                  <a:lnTo>
                    <a:pt x="70" y="1243"/>
                  </a:lnTo>
                  <a:lnTo>
                    <a:pt x="101" y="1292"/>
                  </a:lnTo>
                  <a:lnTo>
                    <a:pt x="109" y="1318"/>
                  </a:lnTo>
                  <a:lnTo>
                    <a:pt x="109" y="1327"/>
                  </a:lnTo>
                  <a:lnTo>
                    <a:pt x="104" y="1345"/>
                  </a:lnTo>
                  <a:lnTo>
                    <a:pt x="87" y="1367"/>
                  </a:lnTo>
                  <a:lnTo>
                    <a:pt x="74" y="1380"/>
                  </a:lnTo>
                  <a:lnTo>
                    <a:pt x="52" y="1405"/>
                  </a:lnTo>
                  <a:lnTo>
                    <a:pt x="22" y="1462"/>
                  </a:lnTo>
                  <a:lnTo>
                    <a:pt x="10" y="1523"/>
                  </a:lnTo>
                  <a:lnTo>
                    <a:pt x="19" y="1586"/>
                  </a:lnTo>
                  <a:lnTo>
                    <a:pt x="35" y="1616"/>
                  </a:lnTo>
                  <a:lnTo>
                    <a:pt x="52" y="1643"/>
                  </a:lnTo>
                  <a:lnTo>
                    <a:pt x="97" y="1691"/>
                  </a:lnTo>
                  <a:lnTo>
                    <a:pt x="153" y="1730"/>
                  </a:lnTo>
                  <a:lnTo>
                    <a:pt x="214" y="1755"/>
                  </a:lnTo>
                  <a:lnTo>
                    <a:pt x="246" y="1761"/>
                  </a:lnTo>
                  <a:lnTo>
                    <a:pt x="304" y="1770"/>
                  </a:lnTo>
                  <a:lnTo>
                    <a:pt x="327" y="1773"/>
                  </a:lnTo>
                  <a:lnTo>
                    <a:pt x="311" y="1787"/>
                  </a:lnTo>
                  <a:lnTo>
                    <a:pt x="289" y="1824"/>
                  </a:lnTo>
                  <a:lnTo>
                    <a:pt x="281" y="1862"/>
                  </a:lnTo>
                  <a:lnTo>
                    <a:pt x="289" y="1903"/>
                  </a:lnTo>
                  <a:lnTo>
                    <a:pt x="299" y="1921"/>
                  </a:lnTo>
                  <a:lnTo>
                    <a:pt x="315" y="1943"/>
                  </a:lnTo>
                  <a:lnTo>
                    <a:pt x="336" y="1960"/>
                  </a:lnTo>
                  <a:lnTo>
                    <a:pt x="368" y="1984"/>
                  </a:lnTo>
                  <a:lnTo>
                    <a:pt x="444" y="2019"/>
                  </a:lnTo>
                  <a:lnTo>
                    <a:pt x="483" y="2032"/>
                  </a:lnTo>
                  <a:lnTo>
                    <a:pt x="552" y="2052"/>
                  </a:lnTo>
                  <a:lnTo>
                    <a:pt x="692" y="2078"/>
                  </a:lnTo>
                  <a:lnTo>
                    <a:pt x="762" y="2087"/>
                  </a:lnTo>
                  <a:lnTo>
                    <a:pt x="848" y="2096"/>
                  </a:lnTo>
                  <a:lnTo>
                    <a:pt x="1019" y="2105"/>
                  </a:lnTo>
                  <a:lnTo>
                    <a:pt x="1105" y="2104"/>
                  </a:lnTo>
                  <a:lnTo>
                    <a:pt x="1160" y="2101"/>
                  </a:lnTo>
                  <a:lnTo>
                    <a:pt x="1269" y="2088"/>
                  </a:lnTo>
                  <a:lnTo>
                    <a:pt x="1376" y="2066"/>
                  </a:lnTo>
                  <a:lnTo>
                    <a:pt x="1481" y="2032"/>
                  </a:lnTo>
                  <a:lnTo>
                    <a:pt x="1531" y="2010"/>
                  </a:lnTo>
                  <a:lnTo>
                    <a:pt x="1580" y="1987"/>
                  </a:lnTo>
                  <a:lnTo>
                    <a:pt x="1669" y="1930"/>
                  </a:lnTo>
                  <a:lnTo>
                    <a:pt x="1750" y="1862"/>
                  </a:lnTo>
                  <a:lnTo>
                    <a:pt x="1821" y="1783"/>
                  </a:lnTo>
                  <a:lnTo>
                    <a:pt x="1852" y="1739"/>
                  </a:lnTo>
                  <a:lnTo>
                    <a:pt x="1936" y="1748"/>
                  </a:lnTo>
                  <a:lnTo>
                    <a:pt x="2278" y="1789"/>
                  </a:lnTo>
                  <a:lnTo>
                    <a:pt x="2278" y="1759"/>
                  </a:lnTo>
                  <a:lnTo>
                    <a:pt x="2290" y="1702"/>
                  </a:lnTo>
                  <a:lnTo>
                    <a:pt x="2301" y="1676"/>
                  </a:lnTo>
                  <a:lnTo>
                    <a:pt x="2486" y="130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80631064-4B14-6516-5A8B-2DB2307C5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3975" y="924378"/>
              <a:ext cx="1409700" cy="1978025"/>
            </a:xfrm>
            <a:custGeom>
              <a:avLst/>
              <a:gdLst>
                <a:gd name="T0" fmla="*/ 674 w 3553"/>
                <a:gd name="T1" fmla="*/ 3945 h 4986"/>
                <a:gd name="T2" fmla="*/ 817 w 3553"/>
                <a:gd name="T3" fmla="*/ 4128 h 4986"/>
                <a:gd name="T4" fmla="*/ 858 w 3553"/>
                <a:gd name="T5" fmla="*/ 4230 h 4986"/>
                <a:gd name="T6" fmla="*/ 966 w 3553"/>
                <a:gd name="T7" fmla="*/ 4064 h 4986"/>
                <a:gd name="T8" fmla="*/ 1085 w 3553"/>
                <a:gd name="T9" fmla="*/ 3915 h 4986"/>
                <a:gd name="T10" fmla="*/ 1281 w 3553"/>
                <a:gd name="T11" fmla="*/ 3699 h 4986"/>
                <a:gd name="T12" fmla="*/ 1635 w 3553"/>
                <a:gd name="T13" fmla="*/ 3337 h 4986"/>
                <a:gd name="T14" fmla="*/ 2193 w 3553"/>
                <a:gd name="T15" fmla="*/ 2793 h 4986"/>
                <a:gd name="T16" fmla="*/ 2428 w 3553"/>
                <a:gd name="T17" fmla="*/ 2701 h 4986"/>
                <a:gd name="T18" fmla="*/ 2595 w 3553"/>
                <a:gd name="T19" fmla="*/ 3053 h 4986"/>
                <a:gd name="T20" fmla="*/ 2734 w 3553"/>
                <a:gd name="T21" fmla="*/ 3419 h 4986"/>
                <a:gd name="T22" fmla="*/ 2847 w 3553"/>
                <a:gd name="T23" fmla="*/ 3793 h 4986"/>
                <a:gd name="T24" fmla="*/ 2911 w 3553"/>
                <a:gd name="T25" fmla="*/ 4078 h 4986"/>
                <a:gd name="T26" fmla="*/ 2968 w 3553"/>
                <a:gd name="T27" fmla="*/ 4417 h 4986"/>
                <a:gd name="T28" fmla="*/ 3010 w 3553"/>
                <a:gd name="T29" fmla="*/ 4872 h 4986"/>
                <a:gd name="T30" fmla="*/ 3553 w 3553"/>
                <a:gd name="T31" fmla="*/ 4973 h 4986"/>
                <a:gd name="T32" fmla="*/ 3539 w 3553"/>
                <a:gd name="T33" fmla="*/ 4666 h 4986"/>
                <a:gd name="T34" fmla="*/ 3492 w 3553"/>
                <a:gd name="T35" fmla="*/ 4259 h 4986"/>
                <a:gd name="T36" fmla="*/ 3417 w 3553"/>
                <a:gd name="T37" fmla="*/ 3857 h 4986"/>
                <a:gd name="T38" fmla="*/ 3314 w 3553"/>
                <a:gd name="T39" fmla="*/ 3460 h 4986"/>
                <a:gd name="T40" fmla="*/ 3255 w 3553"/>
                <a:gd name="T41" fmla="*/ 3271 h 4986"/>
                <a:gd name="T42" fmla="*/ 3119 w 3553"/>
                <a:gd name="T43" fmla="*/ 2908 h 4986"/>
                <a:gd name="T44" fmla="*/ 2959 w 3553"/>
                <a:gd name="T45" fmla="*/ 2556 h 4986"/>
                <a:gd name="T46" fmla="*/ 2778 w 3553"/>
                <a:gd name="T47" fmla="*/ 2215 h 4986"/>
                <a:gd name="T48" fmla="*/ 2625 w 3553"/>
                <a:gd name="T49" fmla="*/ 1967 h 4986"/>
                <a:gd name="T50" fmla="*/ 2463 w 3553"/>
                <a:gd name="T51" fmla="*/ 1730 h 4986"/>
                <a:gd name="T52" fmla="*/ 2228 w 3553"/>
                <a:gd name="T53" fmla="*/ 1428 h 4986"/>
                <a:gd name="T54" fmla="*/ 1974 w 3553"/>
                <a:gd name="T55" fmla="*/ 1141 h 4986"/>
                <a:gd name="T56" fmla="*/ 1702 w 3553"/>
                <a:gd name="T57" fmla="*/ 873 h 4986"/>
                <a:gd name="T58" fmla="*/ 1496 w 3553"/>
                <a:gd name="T59" fmla="*/ 692 h 4986"/>
                <a:gd name="T60" fmla="*/ 921 w 3553"/>
                <a:gd name="T61" fmla="*/ 268 h 4986"/>
                <a:gd name="T62" fmla="*/ 457 w 3553"/>
                <a:gd name="T63" fmla="*/ 0 h 4986"/>
                <a:gd name="T64" fmla="*/ 309 w 3553"/>
                <a:gd name="T65" fmla="*/ 534 h 4986"/>
                <a:gd name="T66" fmla="*/ 703 w 3553"/>
                <a:gd name="T67" fmla="*/ 772 h 4986"/>
                <a:gd name="T68" fmla="*/ 1070 w 3553"/>
                <a:gd name="T69" fmla="*/ 1042 h 4986"/>
                <a:gd name="T70" fmla="*/ 1410 w 3553"/>
                <a:gd name="T71" fmla="*/ 1341 h 4986"/>
                <a:gd name="T72" fmla="*/ 1646 w 3553"/>
                <a:gd name="T73" fmla="*/ 1583 h 4986"/>
                <a:gd name="T74" fmla="*/ 926 w 3553"/>
                <a:gd name="T75" fmla="*/ 2396 h 4986"/>
                <a:gd name="T76" fmla="*/ 519 w 3553"/>
                <a:gd name="T77" fmla="*/ 2870 h 4986"/>
                <a:gd name="T78" fmla="*/ 123 w 3553"/>
                <a:gd name="T79" fmla="*/ 3394 h 4986"/>
                <a:gd name="T80" fmla="*/ 29 w 3553"/>
                <a:gd name="T81" fmla="*/ 3557 h 4986"/>
                <a:gd name="T82" fmla="*/ 53 w 3553"/>
                <a:gd name="T83" fmla="*/ 3612 h 4986"/>
                <a:gd name="T84" fmla="*/ 247 w 3553"/>
                <a:gd name="T85" fmla="*/ 3661 h 4986"/>
                <a:gd name="T86" fmla="*/ 451 w 3553"/>
                <a:gd name="T87" fmla="*/ 3761 h 4986"/>
                <a:gd name="T88" fmla="*/ 620 w 3553"/>
                <a:gd name="T89" fmla="*/ 3891 h 4986"/>
                <a:gd name="T90" fmla="*/ 585 w 3553"/>
                <a:gd name="T91" fmla="*/ 3858 h 4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53" h="4986">
                  <a:moveTo>
                    <a:pt x="620" y="3891"/>
                  </a:moveTo>
                  <a:lnTo>
                    <a:pt x="674" y="3945"/>
                  </a:lnTo>
                  <a:lnTo>
                    <a:pt x="760" y="4043"/>
                  </a:lnTo>
                  <a:lnTo>
                    <a:pt x="817" y="4128"/>
                  </a:lnTo>
                  <a:lnTo>
                    <a:pt x="851" y="4200"/>
                  </a:lnTo>
                  <a:lnTo>
                    <a:pt x="858" y="4230"/>
                  </a:lnTo>
                  <a:lnTo>
                    <a:pt x="893" y="4174"/>
                  </a:lnTo>
                  <a:lnTo>
                    <a:pt x="966" y="4064"/>
                  </a:lnTo>
                  <a:lnTo>
                    <a:pt x="1006" y="4012"/>
                  </a:lnTo>
                  <a:lnTo>
                    <a:pt x="1085" y="3915"/>
                  </a:lnTo>
                  <a:lnTo>
                    <a:pt x="1167" y="3823"/>
                  </a:lnTo>
                  <a:lnTo>
                    <a:pt x="1281" y="3699"/>
                  </a:lnTo>
                  <a:lnTo>
                    <a:pt x="1515" y="3456"/>
                  </a:lnTo>
                  <a:lnTo>
                    <a:pt x="1635" y="3337"/>
                  </a:lnTo>
                  <a:lnTo>
                    <a:pt x="1819" y="3154"/>
                  </a:lnTo>
                  <a:lnTo>
                    <a:pt x="2193" y="2793"/>
                  </a:lnTo>
                  <a:lnTo>
                    <a:pt x="2383" y="2614"/>
                  </a:lnTo>
                  <a:lnTo>
                    <a:pt x="2428" y="2701"/>
                  </a:lnTo>
                  <a:lnTo>
                    <a:pt x="2515" y="2876"/>
                  </a:lnTo>
                  <a:lnTo>
                    <a:pt x="2595" y="3053"/>
                  </a:lnTo>
                  <a:lnTo>
                    <a:pt x="2668" y="3235"/>
                  </a:lnTo>
                  <a:lnTo>
                    <a:pt x="2734" y="3419"/>
                  </a:lnTo>
                  <a:lnTo>
                    <a:pt x="2793" y="3604"/>
                  </a:lnTo>
                  <a:lnTo>
                    <a:pt x="2847" y="3793"/>
                  </a:lnTo>
                  <a:lnTo>
                    <a:pt x="2892" y="3983"/>
                  </a:lnTo>
                  <a:lnTo>
                    <a:pt x="2911" y="4078"/>
                  </a:lnTo>
                  <a:lnTo>
                    <a:pt x="2933" y="4191"/>
                  </a:lnTo>
                  <a:lnTo>
                    <a:pt x="2968" y="4417"/>
                  </a:lnTo>
                  <a:lnTo>
                    <a:pt x="2994" y="4644"/>
                  </a:lnTo>
                  <a:lnTo>
                    <a:pt x="3010" y="4872"/>
                  </a:lnTo>
                  <a:lnTo>
                    <a:pt x="3014" y="4986"/>
                  </a:lnTo>
                  <a:lnTo>
                    <a:pt x="3553" y="4973"/>
                  </a:lnTo>
                  <a:lnTo>
                    <a:pt x="3550" y="4870"/>
                  </a:lnTo>
                  <a:lnTo>
                    <a:pt x="3539" y="4666"/>
                  </a:lnTo>
                  <a:lnTo>
                    <a:pt x="3519" y="4462"/>
                  </a:lnTo>
                  <a:lnTo>
                    <a:pt x="3492" y="4259"/>
                  </a:lnTo>
                  <a:lnTo>
                    <a:pt x="3458" y="4058"/>
                  </a:lnTo>
                  <a:lnTo>
                    <a:pt x="3417" y="3857"/>
                  </a:lnTo>
                  <a:lnTo>
                    <a:pt x="3369" y="3657"/>
                  </a:lnTo>
                  <a:lnTo>
                    <a:pt x="3314" y="3460"/>
                  </a:lnTo>
                  <a:lnTo>
                    <a:pt x="3285" y="3363"/>
                  </a:lnTo>
                  <a:lnTo>
                    <a:pt x="3255" y="3271"/>
                  </a:lnTo>
                  <a:lnTo>
                    <a:pt x="3190" y="3088"/>
                  </a:lnTo>
                  <a:lnTo>
                    <a:pt x="3119" y="2908"/>
                  </a:lnTo>
                  <a:lnTo>
                    <a:pt x="3042" y="2730"/>
                  </a:lnTo>
                  <a:lnTo>
                    <a:pt x="2959" y="2556"/>
                  </a:lnTo>
                  <a:lnTo>
                    <a:pt x="2871" y="2383"/>
                  </a:lnTo>
                  <a:lnTo>
                    <a:pt x="2778" y="2215"/>
                  </a:lnTo>
                  <a:lnTo>
                    <a:pt x="2678" y="2049"/>
                  </a:lnTo>
                  <a:lnTo>
                    <a:pt x="2625" y="1967"/>
                  </a:lnTo>
                  <a:lnTo>
                    <a:pt x="2573" y="1888"/>
                  </a:lnTo>
                  <a:lnTo>
                    <a:pt x="2463" y="1730"/>
                  </a:lnTo>
                  <a:lnTo>
                    <a:pt x="2349" y="1577"/>
                  </a:lnTo>
                  <a:lnTo>
                    <a:pt x="2228" y="1428"/>
                  </a:lnTo>
                  <a:lnTo>
                    <a:pt x="2104" y="1283"/>
                  </a:lnTo>
                  <a:lnTo>
                    <a:pt x="1974" y="1141"/>
                  </a:lnTo>
                  <a:lnTo>
                    <a:pt x="1839" y="1005"/>
                  </a:lnTo>
                  <a:lnTo>
                    <a:pt x="1702" y="873"/>
                  </a:lnTo>
                  <a:lnTo>
                    <a:pt x="1631" y="810"/>
                  </a:lnTo>
                  <a:lnTo>
                    <a:pt x="1496" y="692"/>
                  </a:lnTo>
                  <a:lnTo>
                    <a:pt x="1215" y="471"/>
                  </a:lnTo>
                  <a:lnTo>
                    <a:pt x="921" y="268"/>
                  </a:lnTo>
                  <a:lnTo>
                    <a:pt x="613" y="84"/>
                  </a:lnTo>
                  <a:lnTo>
                    <a:pt x="457" y="0"/>
                  </a:lnTo>
                  <a:lnTo>
                    <a:pt x="206" y="479"/>
                  </a:lnTo>
                  <a:lnTo>
                    <a:pt x="309" y="534"/>
                  </a:lnTo>
                  <a:lnTo>
                    <a:pt x="508" y="649"/>
                  </a:lnTo>
                  <a:lnTo>
                    <a:pt x="703" y="772"/>
                  </a:lnTo>
                  <a:lnTo>
                    <a:pt x="889" y="903"/>
                  </a:lnTo>
                  <a:lnTo>
                    <a:pt x="1070" y="1042"/>
                  </a:lnTo>
                  <a:lnTo>
                    <a:pt x="1243" y="1188"/>
                  </a:lnTo>
                  <a:lnTo>
                    <a:pt x="1410" y="1341"/>
                  </a:lnTo>
                  <a:lnTo>
                    <a:pt x="1570" y="1500"/>
                  </a:lnTo>
                  <a:lnTo>
                    <a:pt x="1646" y="1583"/>
                  </a:lnTo>
                  <a:lnTo>
                    <a:pt x="1405" y="1853"/>
                  </a:lnTo>
                  <a:lnTo>
                    <a:pt x="926" y="2396"/>
                  </a:lnTo>
                  <a:lnTo>
                    <a:pt x="690" y="2671"/>
                  </a:lnTo>
                  <a:lnTo>
                    <a:pt x="519" y="2870"/>
                  </a:lnTo>
                  <a:lnTo>
                    <a:pt x="272" y="3179"/>
                  </a:lnTo>
                  <a:lnTo>
                    <a:pt x="123" y="3394"/>
                  </a:lnTo>
                  <a:lnTo>
                    <a:pt x="56" y="3507"/>
                  </a:lnTo>
                  <a:lnTo>
                    <a:pt x="29" y="3557"/>
                  </a:lnTo>
                  <a:lnTo>
                    <a:pt x="0" y="3607"/>
                  </a:lnTo>
                  <a:lnTo>
                    <a:pt x="53" y="3612"/>
                  </a:lnTo>
                  <a:lnTo>
                    <a:pt x="153" y="3631"/>
                  </a:lnTo>
                  <a:lnTo>
                    <a:pt x="247" y="3661"/>
                  </a:lnTo>
                  <a:lnTo>
                    <a:pt x="335" y="3697"/>
                  </a:lnTo>
                  <a:lnTo>
                    <a:pt x="451" y="3761"/>
                  </a:lnTo>
                  <a:lnTo>
                    <a:pt x="576" y="3850"/>
                  </a:lnTo>
                  <a:lnTo>
                    <a:pt x="620" y="3891"/>
                  </a:lnTo>
                  <a:lnTo>
                    <a:pt x="683" y="3951"/>
                  </a:lnTo>
                  <a:lnTo>
                    <a:pt x="585" y="3858"/>
                  </a:lnTo>
                  <a:lnTo>
                    <a:pt x="620" y="38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E6178D45-DC85-2198-FA3E-9F7AC0F61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6713" y="3016703"/>
              <a:ext cx="946150" cy="1171575"/>
            </a:xfrm>
            <a:custGeom>
              <a:avLst/>
              <a:gdLst>
                <a:gd name="T0" fmla="*/ 2213 w 2384"/>
                <a:gd name="T1" fmla="*/ 2144 h 2952"/>
                <a:gd name="T2" fmla="*/ 2277 w 2384"/>
                <a:gd name="T3" fmla="*/ 1858 h 2952"/>
                <a:gd name="T4" fmla="*/ 2285 w 2384"/>
                <a:gd name="T5" fmla="*/ 1727 h 2952"/>
                <a:gd name="T6" fmla="*/ 2265 w 2384"/>
                <a:gd name="T7" fmla="*/ 1548 h 2952"/>
                <a:gd name="T8" fmla="*/ 2220 w 2384"/>
                <a:gd name="T9" fmla="*/ 1413 h 2952"/>
                <a:gd name="T10" fmla="*/ 2149 w 2384"/>
                <a:gd name="T11" fmla="*/ 1288 h 2952"/>
                <a:gd name="T12" fmla="*/ 2179 w 2384"/>
                <a:gd name="T13" fmla="*/ 1142 h 2952"/>
                <a:gd name="T14" fmla="*/ 2355 w 2384"/>
                <a:gd name="T15" fmla="*/ 691 h 2952"/>
                <a:gd name="T16" fmla="*/ 2284 w 2384"/>
                <a:gd name="T17" fmla="*/ 647 h 2952"/>
                <a:gd name="T18" fmla="*/ 1793 w 2384"/>
                <a:gd name="T19" fmla="*/ 192 h 2952"/>
                <a:gd name="T20" fmla="*/ 1301 w 2384"/>
                <a:gd name="T21" fmla="*/ 606 h 2952"/>
                <a:gd name="T22" fmla="*/ 1173 w 2384"/>
                <a:gd name="T23" fmla="*/ 767 h 2952"/>
                <a:gd name="T24" fmla="*/ 966 w 2384"/>
                <a:gd name="T25" fmla="*/ 782 h 2952"/>
                <a:gd name="T26" fmla="*/ 770 w 2384"/>
                <a:gd name="T27" fmla="*/ 859 h 2952"/>
                <a:gd name="T28" fmla="*/ 605 w 2384"/>
                <a:gd name="T29" fmla="*/ 991 h 2952"/>
                <a:gd name="T30" fmla="*/ 515 w 2384"/>
                <a:gd name="T31" fmla="*/ 1127 h 2952"/>
                <a:gd name="T32" fmla="*/ 322 w 2384"/>
                <a:gd name="T33" fmla="*/ 1516 h 2952"/>
                <a:gd name="T34" fmla="*/ 24 w 2384"/>
                <a:gd name="T35" fmla="*/ 2116 h 2952"/>
                <a:gd name="T36" fmla="*/ 4 w 2384"/>
                <a:gd name="T37" fmla="*/ 2174 h 2952"/>
                <a:gd name="T38" fmla="*/ 14 w 2384"/>
                <a:gd name="T39" fmla="*/ 2319 h 2952"/>
                <a:gd name="T40" fmla="*/ 77 w 2384"/>
                <a:gd name="T41" fmla="*/ 2426 h 2952"/>
                <a:gd name="T42" fmla="*/ 143 w 2384"/>
                <a:gd name="T43" fmla="*/ 2474 h 2952"/>
                <a:gd name="T44" fmla="*/ 191 w 2384"/>
                <a:gd name="T45" fmla="*/ 2480 h 2952"/>
                <a:gd name="T46" fmla="*/ 318 w 2384"/>
                <a:gd name="T47" fmla="*/ 2450 h 2952"/>
                <a:gd name="T48" fmla="*/ 366 w 2384"/>
                <a:gd name="T49" fmla="*/ 2450 h 2952"/>
                <a:gd name="T50" fmla="*/ 388 w 2384"/>
                <a:gd name="T51" fmla="*/ 2471 h 2952"/>
                <a:gd name="T52" fmla="*/ 449 w 2384"/>
                <a:gd name="T53" fmla="*/ 2566 h 2952"/>
                <a:gd name="T54" fmla="*/ 513 w 2384"/>
                <a:gd name="T55" fmla="*/ 2629 h 2952"/>
                <a:gd name="T56" fmla="*/ 563 w 2384"/>
                <a:gd name="T57" fmla="*/ 2648 h 2952"/>
                <a:gd name="T58" fmla="*/ 615 w 2384"/>
                <a:gd name="T59" fmla="*/ 2647 h 2952"/>
                <a:gd name="T60" fmla="*/ 700 w 2384"/>
                <a:gd name="T61" fmla="*/ 2623 h 2952"/>
                <a:gd name="T62" fmla="*/ 743 w 2384"/>
                <a:gd name="T63" fmla="*/ 2617 h 2952"/>
                <a:gd name="T64" fmla="*/ 795 w 2384"/>
                <a:gd name="T65" fmla="*/ 2636 h 2952"/>
                <a:gd name="T66" fmla="*/ 823 w 2384"/>
                <a:gd name="T67" fmla="*/ 2671 h 2952"/>
                <a:gd name="T68" fmla="*/ 863 w 2384"/>
                <a:gd name="T69" fmla="*/ 2750 h 2952"/>
                <a:gd name="T70" fmla="*/ 919 w 2384"/>
                <a:gd name="T71" fmla="*/ 2809 h 2952"/>
                <a:gd name="T72" fmla="*/ 964 w 2384"/>
                <a:gd name="T73" fmla="*/ 2826 h 2952"/>
                <a:gd name="T74" fmla="*/ 1060 w 2384"/>
                <a:gd name="T75" fmla="*/ 2816 h 2952"/>
                <a:gd name="T76" fmla="*/ 1116 w 2384"/>
                <a:gd name="T77" fmla="*/ 2799 h 2952"/>
                <a:gd name="T78" fmla="*/ 1184 w 2384"/>
                <a:gd name="T79" fmla="*/ 2786 h 2952"/>
                <a:gd name="T80" fmla="*/ 1206 w 2384"/>
                <a:gd name="T81" fmla="*/ 2792 h 2952"/>
                <a:gd name="T82" fmla="*/ 1237 w 2384"/>
                <a:gd name="T83" fmla="*/ 2834 h 2952"/>
                <a:gd name="T84" fmla="*/ 1255 w 2384"/>
                <a:gd name="T85" fmla="*/ 2869 h 2952"/>
                <a:gd name="T86" fmla="*/ 1305 w 2384"/>
                <a:gd name="T87" fmla="*/ 2919 h 2952"/>
                <a:gd name="T88" fmla="*/ 1369 w 2384"/>
                <a:gd name="T89" fmla="*/ 2947 h 2952"/>
                <a:gd name="T90" fmla="*/ 1439 w 2384"/>
                <a:gd name="T91" fmla="*/ 2950 h 2952"/>
                <a:gd name="T92" fmla="*/ 1492 w 2384"/>
                <a:gd name="T93" fmla="*/ 2936 h 2952"/>
                <a:gd name="T94" fmla="*/ 1565 w 2384"/>
                <a:gd name="T95" fmla="*/ 2897 h 2952"/>
                <a:gd name="T96" fmla="*/ 1641 w 2384"/>
                <a:gd name="T97" fmla="*/ 2817 h 2952"/>
                <a:gd name="T98" fmla="*/ 1801 w 2384"/>
                <a:gd name="T99" fmla="*/ 2498 h 2952"/>
                <a:gd name="T100" fmla="*/ 1832 w 2384"/>
                <a:gd name="T101" fmla="*/ 2536 h 2952"/>
                <a:gd name="T102" fmla="*/ 1894 w 2384"/>
                <a:gd name="T103" fmla="*/ 2559 h 2952"/>
                <a:gd name="T104" fmla="*/ 1929 w 2384"/>
                <a:gd name="T105" fmla="*/ 2560 h 2952"/>
                <a:gd name="T106" fmla="*/ 2017 w 2384"/>
                <a:gd name="T107" fmla="*/ 2532 h 2952"/>
                <a:gd name="T108" fmla="*/ 2074 w 2384"/>
                <a:gd name="T109" fmla="*/ 2485 h 2952"/>
                <a:gd name="T110" fmla="*/ 2150 w 2384"/>
                <a:gd name="T111" fmla="*/ 2362 h 2952"/>
                <a:gd name="T112" fmla="*/ 2183 w 2384"/>
                <a:gd name="T113" fmla="*/ 2258 h 2952"/>
                <a:gd name="T114" fmla="*/ 2169 w 2384"/>
                <a:gd name="T115" fmla="*/ 2317 h 2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84" h="2952">
                  <a:moveTo>
                    <a:pt x="2183" y="2258"/>
                  </a:moveTo>
                  <a:lnTo>
                    <a:pt x="2213" y="2144"/>
                  </a:lnTo>
                  <a:lnTo>
                    <a:pt x="2257" y="1975"/>
                  </a:lnTo>
                  <a:lnTo>
                    <a:pt x="2277" y="1858"/>
                  </a:lnTo>
                  <a:lnTo>
                    <a:pt x="2283" y="1800"/>
                  </a:lnTo>
                  <a:lnTo>
                    <a:pt x="2285" y="1727"/>
                  </a:lnTo>
                  <a:lnTo>
                    <a:pt x="2277" y="1619"/>
                  </a:lnTo>
                  <a:lnTo>
                    <a:pt x="2265" y="1548"/>
                  </a:lnTo>
                  <a:lnTo>
                    <a:pt x="2245" y="1479"/>
                  </a:lnTo>
                  <a:lnTo>
                    <a:pt x="2220" y="1413"/>
                  </a:lnTo>
                  <a:lnTo>
                    <a:pt x="2188" y="1348"/>
                  </a:lnTo>
                  <a:lnTo>
                    <a:pt x="2149" y="1288"/>
                  </a:lnTo>
                  <a:lnTo>
                    <a:pt x="2127" y="1258"/>
                  </a:lnTo>
                  <a:lnTo>
                    <a:pt x="2179" y="1142"/>
                  </a:lnTo>
                  <a:lnTo>
                    <a:pt x="2384" y="700"/>
                  </a:lnTo>
                  <a:lnTo>
                    <a:pt x="2355" y="691"/>
                  </a:lnTo>
                  <a:lnTo>
                    <a:pt x="2306" y="665"/>
                  </a:lnTo>
                  <a:lnTo>
                    <a:pt x="2284" y="647"/>
                  </a:lnTo>
                  <a:lnTo>
                    <a:pt x="1981" y="366"/>
                  </a:lnTo>
                  <a:lnTo>
                    <a:pt x="1793" y="192"/>
                  </a:lnTo>
                  <a:lnTo>
                    <a:pt x="1585" y="0"/>
                  </a:lnTo>
                  <a:lnTo>
                    <a:pt x="1301" y="606"/>
                  </a:lnTo>
                  <a:lnTo>
                    <a:pt x="1225" y="773"/>
                  </a:lnTo>
                  <a:lnTo>
                    <a:pt x="1173" y="767"/>
                  </a:lnTo>
                  <a:lnTo>
                    <a:pt x="1069" y="767"/>
                  </a:lnTo>
                  <a:lnTo>
                    <a:pt x="966" y="782"/>
                  </a:lnTo>
                  <a:lnTo>
                    <a:pt x="865" y="813"/>
                  </a:lnTo>
                  <a:lnTo>
                    <a:pt x="770" y="859"/>
                  </a:lnTo>
                  <a:lnTo>
                    <a:pt x="682" y="917"/>
                  </a:lnTo>
                  <a:lnTo>
                    <a:pt x="605" y="991"/>
                  </a:lnTo>
                  <a:lnTo>
                    <a:pt x="541" y="1078"/>
                  </a:lnTo>
                  <a:lnTo>
                    <a:pt x="515" y="1127"/>
                  </a:lnTo>
                  <a:lnTo>
                    <a:pt x="450" y="1256"/>
                  </a:lnTo>
                  <a:lnTo>
                    <a:pt x="322" y="1516"/>
                  </a:lnTo>
                  <a:lnTo>
                    <a:pt x="209" y="1744"/>
                  </a:lnTo>
                  <a:lnTo>
                    <a:pt x="24" y="2116"/>
                  </a:lnTo>
                  <a:lnTo>
                    <a:pt x="16" y="2134"/>
                  </a:lnTo>
                  <a:lnTo>
                    <a:pt x="4" y="2174"/>
                  </a:lnTo>
                  <a:lnTo>
                    <a:pt x="0" y="2236"/>
                  </a:lnTo>
                  <a:lnTo>
                    <a:pt x="14" y="2319"/>
                  </a:lnTo>
                  <a:lnTo>
                    <a:pt x="51" y="2394"/>
                  </a:lnTo>
                  <a:lnTo>
                    <a:pt x="77" y="2426"/>
                  </a:lnTo>
                  <a:lnTo>
                    <a:pt x="100" y="2450"/>
                  </a:lnTo>
                  <a:lnTo>
                    <a:pt x="143" y="2474"/>
                  </a:lnTo>
                  <a:lnTo>
                    <a:pt x="174" y="2481"/>
                  </a:lnTo>
                  <a:lnTo>
                    <a:pt x="191" y="2480"/>
                  </a:lnTo>
                  <a:lnTo>
                    <a:pt x="256" y="2468"/>
                  </a:lnTo>
                  <a:lnTo>
                    <a:pt x="318" y="2450"/>
                  </a:lnTo>
                  <a:lnTo>
                    <a:pt x="340" y="2446"/>
                  </a:lnTo>
                  <a:lnTo>
                    <a:pt x="366" y="2450"/>
                  </a:lnTo>
                  <a:lnTo>
                    <a:pt x="381" y="2462"/>
                  </a:lnTo>
                  <a:lnTo>
                    <a:pt x="388" y="2471"/>
                  </a:lnTo>
                  <a:lnTo>
                    <a:pt x="418" y="2519"/>
                  </a:lnTo>
                  <a:lnTo>
                    <a:pt x="449" y="2566"/>
                  </a:lnTo>
                  <a:lnTo>
                    <a:pt x="471" y="2593"/>
                  </a:lnTo>
                  <a:lnTo>
                    <a:pt x="513" y="2629"/>
                  </a:lnTo>
                  <a:lnTo>
                    <a:pt x="546" y="2645"/>
                  </a:lnTo>
                  <a:lnTo>
                    <a:pt x="563" y="2648"/>
                  </a:lnTo>
                  <a:lnTo>
                    <a:pt x="580" y="2651"/>
                  </a:lnTo>
                  <a:lnTo>
                    <a:pt x="615" y="2647"/>
                  </a:lnTo>
                  <a:lnTo>
                    <a:pt x="666" y="2633"/>
                  </a:lnTo>
                  <a:lnTo>
                    <a:pt x="700" y="2623"/>
                  </a:lnTo>
                  <a:lnTo>
                    <a:pt x="714" y="2620"/>
                  </a:lnTo>
                  <a:lnTo>
                    <a:pt x="743" y="2617"/>
                  </a:lnTo>
                  <a:lnTo>
                    <a:pt x="770" y="2621"/>
                  </a:lnTo>
                  <a:lnTo>
                    <a:pt x="795" y="2636"/>
                  </a:lnTo>
                  <a:lnTo>
                    <a:pt x="805" y="2647"/>
                  </a:lnTo>
                  <a:lnTo>
                    <a:pt x="823" y="2671"/>
                  </a:lnTo>
                  <a:lnTo>
                    <a:pt x="849" y="2725"/>
                  </a:lnTo>
                  <a:lnTo>
                    <a:pt x="863" y="2750"/>
                  </a:lnTo>
                  <a:lnTo>
                    <a:pt x="882" y="2777"/>
                  </a:lnTo>
                  <a:lnTo>
                    <a:pt x="919" y="2809"/>
                  </a:lnTo>
                  <a:lnTo>
                    <a:pt x="948" y="2823"/>
                  </a:lnTo>
                  <a:lnTo>
                    <a:pt x="964" y="2826"/>
                  </a:lnTo>
                  <a:lnTo>
                    <a:pt x="997" y="2827"/>
                  </a:lnTo>
                  <a:lnTo>
                    <a:pt x="1060" y="2816"/>
                  </a:lnTo>
                  <a:lnTo>
                    <a:pt x="1092" y="2807"/>
                  </a:lnTo>
                  <a:lnTo>
                    <a:pt x="1116" y="2799"/>
                  </a:lnTo>
                  <a:lnTo>
                    <a:pt x="1156" y="2788"/>
                  </a:lnTo>
                  <a:lnTo>
                    <a:pt x="1184" y="2786"/>
                  </a:lnTo>
                  <a:lnTo>
                    <a:pt x="1195" y="2788"/>
                  </a:lnTo>
                  <a:lnTo>
                    <a:pt x="1206" y="2792"/>
                  </a:lnTo>
                  <a:lnTo>
                    <a:pt x="1220" y="2807"/>
                  </a:lnTo>
                  <a:lnTo>
                    <a:pt x="1237" y="2834"/>
                  </a:lnTo>
                  <a:lnTo>
                    <a:pt x="1246" y="2852"/>
                  </a:lnTo>
                  <a:lnTo>
                    <a:pt x="1255" y="2869"/>
                  </a:lnTo>
                  <a:lnTo>
                    <a:pt x="1278" y="2897"/>
                  </a:lnTo>
                  <a:lnTo>
                    <a:pt x="1305" y="2919"/>
                  </a:lnTo>
                  <a:lnTo>
                    <a:pt x="1336" y="2936"/>
                  </a:lnTo>
                  <a:lnTo>
                    <a:pt x="1369" y="2947"/>
                  </a:lnTo>
                  <a:lnTo>
                    <a:pt x="1404" y="2952"/>
                  </a:lnTo>
                  <a:lnTo>
                    <a:pt x="1439" y="2950"/>
                  </a:lnTo>
                  <a:lnTo>
                    <a:pt x="1475" y="2943"/>
                  </a:lnTo>
                  <a:lnTo>
                    <a:pt x="1492" y="2936"/>
                  </a:lnTo>
                  <a:lnTo>
                    <a:pt x="1517" y="2926"/>
                  </a:lnTo>
                  <a:lnTo>
                    <a:pt x="1565" y="2897"/>
                  </a:lnTo>
                  <a:lnTo>
                    <a:pt x="1606" y="2860"/>
                  </a:lnTo>
                  <a:lnTo>
                    <a:pt x="1641" y="2817"/>
                  </a:lnTo>
                  <a:lnTo>
                    <a:pt x="1654" y="2794"/>
                  </a:lnTo>
                  <a:lnTo>
                    <a:pt x="1801" y="2498"/>
                  </a:lnTo>
                  <a:lnTo>
                    <a:pt x="1808" y="2514"/>
                  </a:lnTo>
                  <a:lnTo>
                    <a:pt x="1832" y="2536"/>
                  </a:lnTo>
                  <a:lnTo>
                    <a:pt x="1861" y="2551"/>
                  </a:lnTo>
                  <a:lnTo>
                    <a:pt x="1894" y="2559"/>
                  </a:lnTo>
                  <a:lnTo>
                    <a:pt x="1909" y="2560"/>
                  </a:lnTo>
                  <a:lnTo>
                    <a:pt x="1929" y="2560"/>
                  </a:lnTo>
                  <a:lnTo>
                    <a:pt x="1965" y="2554"/>
                  </a:lnTo>
                  <a:lnTo>
                    <a:pt x="2017" y="2532"/>
                  </a:lnTo>
                  <a:lnTo>
                    <a:pt x="2047" y="2510"/>
                  </a:lnTo>
                  <a:lnTo>
                    <a:pt x="2074" y="2485"/>
                  </a:lnTo>
                  <a:lnTo>
                    <a:pt x="2117" y="2427"/>
                  </a:lnTo>
                  <a:lnTo>
                    <a:pt x="2150" y="2362"/>
                  </a:lnTo>
                  <a:lnTo>
                    <a:pt x="2174" y="2292"/>
                  </a:lnTo>
                  <a:lnTo>
                    <a:pt x="2183" y="2258"/>
                  </a:lnTo>
                  <a:lnTo>
                    <a:pt x="2197" y="2200"/>
                  </a:lnTo>
                  <a:lnTo>
                    <a:pt x="2169" y="2317"/>
                  </a:lnTo>
                  <a:lnTo>
                    <a:pt x="2183" y="225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EBB036C2-E990-A48F-92E3-52E7FC306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6475" y="3050041"/>
              <a:ext cx="1735138" cy="2100263"/>
            </a:xfrm>
            <a:custGeom>
              <a:avLst/>
              <a:gdLst>
                <a:gd name="T0" fmla="*/ 3832 w 4372"/>
                <a:gd name="T1" fmla="*/ 0 h 5292"/>
                <a:gd name="T2" fmla="*/ 3802 w 4372"/>
                <a:gd name="T3" fmla="*/ 151 h 5292"/>
                <a:gd name="T4" fmla="*/ 3714 w 4372"/>
                <a:gd name="T5" fmla="*/ 751 h 5292"/>
                <a:gd name="T6" fmla="*/ 3550 w 4372"/>
                <a:gd name="T7" fmla="*/ 1343 h 5292"/>
                <a:gd name="T8" fmla="*/ 3313 w 4372"/>
                <a:gd name="T9" fmla="*/ 1918 h 5292"/>
                <a:gd name="T10" fmla="*/ 3089 w 4372"/>
                <a:gd name="T11" fmla="*/ 2333 h 5292"/>
                <a:gd name="T12" fmla="*/ 2061 w 4372"/>
                <a:gd name="T13" fmla="*/ 1887 h 5292"/>
                <a:gd name="T14" fmla="*/ 1593 w 4372"/>
                <a:gd name="T15" fmla="*/ 1698 h 5292"/>
                <a:gd name="T16" fmla="*/ 1220 w 4372"/>
                <a:gd name="T17" fmla="*/ 1562 h 5292"/>
                <a:gd name="T18" fmla="*/ 1007 w 4372"/>
                <a:gd name="T19" fmla="*/ 1504 h 5292"/>
                <a:gd name="T20" fmla="*/ 647 w 4372"/>
                <a:gd name="T21" fmla="*/ 1434 h 5292"/>
                <a:gd name="T22" fmla="*/ 669 w 4372"/>
                <a:gd name="T23" fmla="*/ 1550 h 5292"/>
                <a:gd name="T24" fmla="*/ 672 w 4372"/>
                <a:gd name="T25" fmla="*/ 1706 h 5292"/>
                <a:gd name="T26" fmla="*/ 628 w 4372"/>
                <a:gd name="T27" fmla="*/ 1975 h 5292"/>
                <a:gd name="T28" fmla="*/ 593 w 4372"/>
                <a:gd name="T29" fmla="*/ 2104 h 5292"/>
                <a:gd name="T30" fmla="*/ 529 w 4372"/>
                <a:gd name="T31" fmla="*/ 2302 h 5292"/>
                <a:gd name="T32" fmla="*/ 467 w 4372"/>
                <a:gd name="T33" fmla="*/ 2399 h 5292"/>
                <a:gd name="T34" fmla="*/ 399 w 4372"/>
                <a:gd name="T35" fmla="*/ 2452 h 5292"/>
                <a:gd name="T36" fmla="*/ 631 w 4372"/>
                <a:gd name="T37" fmla="*/ 2508 h 5292"/>
                <a:gd name="T38" fmla="*/ 817 w 4372"/>
                <a:gd name="T39" fmla="*/ 2572 h 5292"/>
                <a:gd name="T40" fmla="*/ 1076 w 4372"/>
                <a:gd name="T41" fmla="*/ 2684 h 5292"/>
                <a:gd name="T42" fmla="*/ 1525 w 4372"/>
                <a:gd name="T43" fmla="*/ 2905 h 5292"/>
                <a:gd name="T44" fmla="*/ 2129 w 4372"/>
                <a:gd name="T45" fmla="*/ 3221 h 5292"/>
                <a:gd name="T46" fmla="*/ 2205 w 4372"/>
                <a:gd name="T47" fmla="*/ 3453 h 5292"/>
                <a:gd name="T48" fmla="*/ 1677 w 4372"/>
                <a:gd name="T49" fmla="*/ 3908 h 5292"/>
                <a:gd name="T50" fmla="*/ 1101 w 4372"/>
                <a:gd name="T51" fmla="*/ 4293 h 5292"/>
                <a:gd name="T52" fmla="*/ 484 w 4372"/>
                <a:gd name="T53" fmla="*/ 4600 h 5292"/>
                <a:gd name="T54" fmla="*/ 0 w 4372"/>
                <a:gd name="T55" fmla="*/ 4776 h 5292"/>
                <a:gd name="T56" fmla="*/ 170 w 4372"/>
                <a:gd name="T57" fmla="*/ 5288 h 5292"/>
                <a:gd name="T58" fmla="*/ 182 w 4372"/>
                <a:gd name="T59" fmla="*/ 5292 h 5292"/>
                <a:gd name="T60" fmla="*/ 689 w 4372"/>
                <a:gd name="T61" fmla="*/ 5109 h 5292"/>
                <a:gd name="T62" fmla="*/ 1333 w 4372"/>
                <a:gd name="T63" fmla="*/ 4796 h 5292"/>
                <a:gd name="T64" fmla="*/ 1639 w 4372"/>
                <a:gd name="T65" fmla="*/ 4613 h 5292"/>
                <a:gd name="T66" fmla="*/ 2209 w 4372"/>
                <a:gd name="T67" fmla="*/ 4197 h 5292"/>
                <a:gd name="T68" fmla="*/ 2603 w 4372"/>
                <a:gd name="T69" fmla="*/ 3843 h 5292"/>
                <a:gd name="T70" fmla="*/ 2997 w 4372"/>
                <a:gd name="T71" fmla="*/ 3423 h 5292"/>
                <a:gd name="T72" fmla="*/ 3401 w 4372"/>
                <a:gd name="T73" fmla="*/ 2887 h 5292"/>
                <a:gd name="T74" fmla="*/ 3556 w 4372"/>
                <a:gd name="T75" fmla="*/ 2644 h 5292"/>
                <a:gd name="T76" fmla="*/ 3699 w 4372"/>
                <a:gd name="T77" fmla="*/ 2395 h 5292"/>
                <a:gd name="T78" fmla="*/ 3872 w 4372"/>
                <a:gd name="T79" fmla="*/ 2052 h 5292"/>
                <a:gd name="T80" fmla="*/ 4020 w 4372"/>
                <a:gd name="T81" fmla="*/ 1698 h 5292"/>
                <a:gd name="T82" fmla="*/ 4144 w 4372"/>
                <a:gd name="T83" fmla="*/ 1334 h 5292"/>
                <a:gd name="T84" fmla="*/ 4211 w 4372"/>
                <a:gd name="T85" fmla="*/ 1093 h 5292"/>
                <a:gd name="T86" fmla="*/ 4331 w 4372"/>
                <a:gd name="T87" fmla="*/ 486 h 5292"/>
                <a:gd name="T88" fmla="*/ 4372 w 4372"/>
                <a:gd name="T89" fmla="*/ 25 h 5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2" h="5292">
                  <a:moveTo>
                    <a:pt x="3832" y="0"/>
                  </a:moveTo>
                  <a:lnTo>
                    <a:pt x="3832" y="0"/>
                  </a:lnTo>
                  <a:lnTo>
                    <a:pt x="3811" y="0"/>
                  </a:lnTo>
                  <a:lnTo>
                    <a:pt x="3802" y="151"/>
                  </a:lnTo>
                  <a:lnTo>
                    <a:pt x="3768" y="451"/>
                  </a:lnTo>
                  <a:lnTo>
                    <a:pt x="3714" y="751"/>
                  </a:lnTo>
                  <a:lnTo>
                    <a:pt x="3641" y="1047"/>
                  </a:lnTo>
                  <a:lnTo>
                    <a:pt x="3550" y="1343"/>
                  </a:lnTo>
                  <a:lnTo>
                    <a:pt x="3440" y="1633"/>
                  </a:lnTo>
                  <a:lnTo>
                    <a:pt x="3313" y="1918"/>
                  </a:lnTo>
                  <a:lnTo>
                    <a:pt x="3168" y="2197"/>
                  </a:lnTo>
                  <a:lnTo>
                    <a:pt x="3089" y="2333"/>
                  </a:lnTo>
                  <a:lnTo>
                    <a:pt x="2748" y="2182"/>
                  </a:lnTo>
                  <a:lnTo>
                    <a:pt x="2061" y="1887"/>
                  </a:lnTo>
                  <a:lnTo>
                    <a:pt x="1716" y="1746"/>
                  </a:lnTo>
                  <a:lnTo>
                    <a:pt x="1593" y="1698"/>
                  </a:lnTo>
                  <a:lnTo>
                    <a:pt x="1346" y="1603"/>
                  </a:lnTo>
                  <a:lnTo>
                    <a:pt x="1220" y="1562"/>
                  </a:lnTo>
                  <a:lnTo>
                    <a:pt x="1150" y="1540"/>
                  </a:lnTo>
                  <a:lnTo>
                    <a:pt x="1007" y="1504"/>
                  </a:lnTo>
                  <a:lnTo>
                    <a:pt x="791" y="1460"/>
                  </a:lnTo>
                  <a:lnTo>
                    <a:pt x="647" y="1434"/>
                  </a:lnTo>
                  <a:lnTo>
                    <a:pt x="656" y="1473"/>
                  </a:lnTo>
                  <a:lnTo>
                    <a:pt x="669" y="1550"/>
                  </a:lnTo>
                  <a:lnTo>
                    <a:pt x="673" y="1628"/>
                  </a:lnTo>
                  <a:lnTo>
                    <a:pt x="672" y="1706"/>
                  </a:lnTo>
                  <a:lnTo>
                    <a:pt x="660" y="1821"/>
                  </a:lnTo>
                  <a:lnTo>
                    <a:pt x="628" y="1975"/>
                  </a:lnTo>
                  <a:lnTo>
                    <a:pt x="607" y="2051"/>
                  </a:lnTo>
                  <a:lnTo>
                    <a:pt x="593" y="2104"/>
                  </a:lnTo>
                  <a:lnTo>
                    <a:pt x="561" y="2219"/>
                  </a:lnTo>
                  <a:lnTo>
                    <a:pt x="529" y="2302"/>
                  </a:lnTo>
                  <a:lnTo>
                    <a:pt x="502" y="2353"/>
                  </a:lnTo>
                  <a:lnTo>
                    <a:pt x="467" y="2399"/>
                  </a:lnTo>
                  <a:lnTo>
                    <a:pt x="424" y="2437"/>
                  </a:lnTo>
                  <a:lnTo>
                    <a:pt x="399" y="2452"/>
                  </a:lnTo>
                  <a:lnTo>
                    <a:pt x="476" y="2469"/>
                  </a:lnTo>
                  <a:lnTo>
                    <a:pt x="631" y="2508"/>
                  </a:lnTo>
                  <a:lnTo>
                    <a:pt x="707" y="2531"/>
                  </a:lnTo>
                  <a:lnTo>
                    <a:pt x="817" y="2572"/>
                  </a:lnTo>
                  <a:lnTo>
                    <a:pt x="924" y="2618"/>
                  </a:lnTo>
                  <a:lnTo>
                    <a:pt x="1076" y="2684"/>
                  </a:lnTo>
                  <a:lnTo>
                    <a:pt x="1377" y="2830"/>
                  </a:lnTo>
                  <a:lnTo>
                    <a:pt x="1525" y="2905"/>
                  </a:lnTo>
                  <a:lnTo>
                    <a:pt x="1727" y="3008"/>
                  </a:lnTo>
                  <a:lnTo>
                    <a:pt x="2129" y="3221"/>
                  </a:lnTo>
                  <a:lnTo>
                    <a:pt x="2328" y="3329"/>
                  </a:lnTo>
                  <a:lnTo>
                    <a:pt x="2205" y="3453"/>
                  </a:lnTo>
                  <a:lnTo>
                    <a:pt x="1948" y="3689"/>
                  </a:lnTo>
                  <a:lnTo>
                    <a:pt x="1677" y="3908"/>
                  </a:lnTo>
                  <a:lnTo>
                    <a:pt x="1395" y="4109"/>
                  </a:lnTo>
                  <a:lnTo>
                    <a:pt x="1101" y="4293"/>
                  </a:lnTo>
                  <a:lnTo>
                    <a:pt x="796" y="4456"/>
                  </a:lnTo>
                  <a:lnTo>
                    <a:pt x="484" y="4600"/>
                  </a:lnTo>
                  <a:lnTo>
                    <a:pt x="164" y="4723"/>
                  </a:lnTo>
                  <a:lnTo>
                    <a:pt x="0" y="4776"/>
                  </a:lnTo>
                  <a:lnTo>
                    <a:pt x="160" y="5292"/>
                  </a:lnTo>
                  <a:lnTo>
                    <a:pt x="170" y="5288"/>
                  </a:lnTo>
                  <a:lnTo>
                    <a:pt x="180" y="5286"/>
                  </a:lnTo>
                  <a:lnTo>
                    <a:pt x="182" y="5292"/>
                  </a:lnTo>
                  <a:lnTo>
                    <a:pt x="353" y="5237"/>
                  </a:lnTo>
                  <a:lnTo>
                    <a:pt x="689" y="5109"/>
                  </a:lnTo>
                  <a:lnTo>
                    <a:pt x="1015" y="4963"/>
                  </a:lnTo>
                  <a:lnTo>
                    <a:pt x="1333" y="4796"/>
                  </a:lnTo>
                  <a:lnTo>
                    <a:pt x="1488" y="4705"/>
                  </a:lnTo>
                  <a:lnTo>
                    <a:pt x="1639" y="4613"/>
                  </a:lnTo>
                  <a:lnTo>
                    <a:pt x="1930" y="4413"/>
                  </a:lnTo>
                  <a:lnTo>
                    <a:pt x="2209" y="4197"/>
                  </a:lnTo>
                  <a:lnTo>
                    <a:pt x="2476" y="3965"/>
                  </a:lnTo>
                  <a:lnTo>
                    <a:pt x="2603" y="3843"/>
                  </a:lnTo>
                  <a:lnTo>
                    <a:pt x="2739" y="3707"/>
                  </a:lnTo>
                  <a:lnTo>
                    <a:pt x="2997" y="3423"/>
                  </a:lnTo>
                  <a:lnTo>
                    <a:pt x="3235" y="3123"/>
                  </a:lnTo>
                  <a:lnTo>
                    <a:pt x="3401" y="2887"/>
                  </a:lnTo>
                  <a:lnTo>
                    <a:pt x="3506" y="2726"/>
                  </a:lnTo>
                  <a:lnTo>
                    <a:pt x="3556" y="2644"/>
                  </a:lnTo>
                  <a:lnTo>
                    <a:pt x="3606" y="2563"/>
                  </a:lnTo>
                  <a:lnTo>
                    <a:pt x="3699" y="2395"/>
                  </a:lnTo>
                  <a:lnTo>
                    <a:pt x="3788" y="2224"/>
                  </a:lnTo>
                  <a:lnTo>
                    <a:pt x="3872" y="2052"/>
                  </a:lnTo>
                  <a:lnTo>
                    <a:pt x="3948" y="1876"/>
                  </a:lnTo>
                  <a:lnTo>
                    <a:pt x="4020" y="1698"/>
                  </a:lnTo>
                  <a:lnTo>
                    <a:pt x="4084" y="1517"/>
                  </a:lnTo>
                  <a:lnTo>
                    <a:pt x="4144" y="1334"/>
                  </a:lnTo>
                  <a:lnTo>
                    <a:pt x="4171" y="1242"/>
                  </a:lnTo>
                  <a:lnTo>
                    <a:pt x="4211" y="1093"/>
                  </a:lnTo>
                  <a:lnTo>
                    <a:pt x="4280" y="792"/>
                  </a:lnTo>
                  <a:lnTo>
                    <a:pt x="4331" y="486"/>
                  </a:lnTo>
                  <a:lnTo>
                    <a:pt x="4363" y="179"/>
                  </a:lnTo>
                  <a:lnTo>
                    <a:pt x="4372" y="25"/>
                  </a:lnTo>
                  <a:lnTo>
                    <a:pt x="383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90924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1</TotalTime>
  <Words>27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amwork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62</cp:revision>
  <dcterms:created xsi:type="dcterms:W3CDTF">2021-03-31T02:49:57Z</dcterms:created>
  <dcterms:modified xsi:type="dcterms:W3CDTF">2025-10-16T11:06:01Z</dcterms:modified>
  <cp:category/>
</cp:coreProperties>
</file>